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ink/ink1.xml" ContentType="application/inkml+xml"/>
  <Override PartName="/ppt/notesSlides/notesSlide1.xml" ContentType="application/vnd.openxmlformats-officedocument.presentationml.notesSlide+xml"/>
  <Override PartName="/ppt/ink/ink2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  <p:sldMasterId id="2147483713" r:id="rId5"/>
  </p:sldMasterIdLst>
  <p:notesMasterIdLst>
    <p:notesMasterId r:id="rId9"/>
  </p:notesMasterIdLst>
  <p:handoutMasterIdLst>
    <p:handoutMasterId r:id="rId10"/>
  </p:handoutMasterIdLst>
  <p:sldIdLst>
    <p:sldId id="937" r:id="rId6"/>
    <p:sldId id="941" r:id="rId7"/>
    <p:sldId id="942" r:id="rId8"/>
  </p:sldIdLst>
  <p:sldSz cx="42803763" cy="30275213"/>
  <p:notesSz cx="6797675" cy="9926638"/>
  <p:custDataLst>
    <p:tags r:id="rId11"/>
  </p:custDataLst>
  <p:defaultTextStyle>
    <a:defPPr>
      <a:defRPr lang="fr-FR"/>
    </a:defPPr>
    <a:lvl1pPr marL="0" algn="l" defTabSz="3986004" rtl="0" eaLnBrk="1" latinLnBrk="0" hangingPunct="1">
      <a:defRPr sz="7848" kern="1200">
        <a:solidFill>
          <a:schemeClr val="tx1"/>
        </a:solidFill>
        <a:latin typeface="+mn-lt"/>
        <a:ea typeface="+mn-ea"/>
        <a:cs typeface="+mn-cs"/>
      </a:defRPr>
    </a:lvl1pPr>
    <a:lvl2pPr marL="1993002" algn="l" defTabSz="3986004" rtl="0" eaLnBrk="1" latinLnBrk="0" hangingPunct="1">
      <a:defRPr sz="7848" kern="1200">
        <a:solidFill>
          <a:schemeClr val="tx1"/>
        </a:solidFill>
        <a:latin typeface="+mn-lt"/>
        <a:ea typeface="+mn-ea"/>
        <a:cs typeface="+mn-cs"/>
      </a:defRPr>
    </a:lvl2pPr>
    <a:lvl3pPr marL="3986004" algn="l" defTabSz="3986004" rtl="0" eaLnBrk="1" latinLnBrk="0" hangingPunct="1">
      <a:defRPr sz="7848" kern="1200">
        <a:solidFill>
          <a:schemeClr val="tx1"/>
        </a:solidFill>
        <a:latin typeface="+mn-lt"/>
        <a:ea typeface="+mn-ea"/>
        <a:cs typeface="+mn-cs"/>
      </a:defRPr>
    </a:lvl3pPr>
    <a:lvl4pPr marL="5979007" algn="l" defTabSz="3986004" rtl="0" eaLnBrk="1" latinLnBrk="0" hangingPunct="1">
      <a:defRPr sz="7848" kern="1200">
        <a:solidFill>
          <a:schemeClr val="tx1"/>
        </a:solidFill>
        <a:latin typeface="+mn-lt"/>
        <a:ea typeface="+mn-ea"/>
        <a:cs typeface="+mn-cs"/>
      </a:defRPr>
    </a:lvl4pPr>
    <a:lvl5pPr marL="7972013" algn="l" defTabSz="3986004" rtl="0" eaLnBrk="1" latinLnBrk="0" hangingPunct="1">
      <a:defRPr sz="7848" kern="1200">
        <a:solidFill>
          <a:schemeClr val="tx1"/>
        </a:solidFill>
        <a:latin typeface="+mn-lt"/>
        <a:ea typeface="+mn-ea"/>
        <a:cs typeface="+mn-cs"/>
      </a:defRPr>
    </a:lvl5pPr>
    <a:lvl6pPr marL="9965015" algn="l" defTabSz="3986004" rtl="0" eaLnBrk="1" latinLnBrk="0" hangingPunct="1">
      <a:defRPr sz="7848" kern="1200">
        <a:solidFill>
          <a:schemeClr val="tx1"/>
        </a:solidFill>
        <a:latin typeface="+mn-lt"/>
        <a:ea typeface="+mn-ea"/>
        <a:cs typeface="+mn-cs"/>
      </a:defRPr>
    </a:lvl6pPr>
    <a:lvl7pPr marL="11958017" algn="l" defTabSz="3986004" rtl="0" eaLnBrk="1" latinLnBrk="0" hangingPunct="1">
      <a:defRPr sz="7848" kern="1200">
        <a:solidFill>
          <a:schemeClr val="tx1"/>
        </a:solidFill>
        <a:latin typeface="+mn-lt"/>
        <a:ea typeface="+mn-ea"/>
        <a:cs typeface="+mn-cs"/>
      </a:defRPr>
    </a:lvl7pPr>
    <a:lvl8pPr marL="13951019" algn="l" defTabSz="3986004" rtl="0" eaLnBrk="1" latinLnBrk="0" hangingPunct="1">
      <a:defRPr sz="7848" kern="1200">
        <a:solidFill>
          <a:schemeClr val="tx1"/>
        </a:solidFill>
        <a:latin typeface="+mn-lt"/>
        <a:ea typeface="+mn-ea"/>
        <a:cs typeface="+mn-cs"/>
      </a:defRPr>
    </a:lvl8pPr>
    <a:lvl9pPr marL="15944022" algn="l" defTabSz="3986004" rtl="0" eaLnBrk="1" latinLnBrk="0" hangingPunct="1">
      <a:defRPr sz="784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E20023E-772A-4F52-BE33-D71F2EC2D81F}">
          <p14:sldIdLst>
            <p14:sldId id="937"/>
            <p14:sldId id="941"/>
            <p14:sldId id="94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orient="horz" pos="50442" userDrawn="1">
          <p15:clr>
            <a:srgbClr val="A4A3A4"/>
          </p15:clr>
        </p15:guide>
        <p15:guide id="3" orient="horz" pos="76715" userDrawn="1">
          <p15:clr>
            <a:srgbClr val="A4A3A4"/>
          </p15:clr>
        </p15:guide>
        <p15:guide id="4" orient="horz" pos="69786" userDrawn="1">
          <p15:clr>
            <a:srgbClr val="A4A3A4"/>
          </p15:clr>
        </p15:guide>
        <p15:guide id="5" orient="horz" pos="38367" userDrawn="1">
          <p15:clr>
            <a:srgbClr val="A4A3A4"/>
          </p15:clr>
        </p15:guide>
        <p15:guide id="6" orient="horz" pos="17417" userDrawn="1">
          <p15:clr>
            <a:srgbClr val="A4A3A4"/>
          </p15:clr>
        </p15:guide>
        <p15:guide id="7" orient="horz" pos="75435" userDrawn="1">
          <p15:clr>
            <a:srgbClr val="A4A3A4"/>
          </p15:clr>
        </p15:guide>
        <p15:guide id="8" orient="horz" pos="6152" userDrawn="1">
          <p15:clr>
            <a:srgbClr val="A4A3A4"/>
          </p15:clr>
        </p15:guide>
        <p15:guide id="9" pos="52046" userDrawn="1">
          <p15:clr>
            <a:srgbClr val="A4A3A4"/>
          </p15:clr>
        </p15:guide>
        <p15:guide id="10" pos="102008" userDrawn="1">
          <p15:clr>
            <a:srgbClr val="A4A3A4"/>
          </p15:clr>
        </p15:guide>
        <p15:guide id="11" pos="1355" userDrawn="1">
          <p15:clr>
            <a:srgbClr val="A4A3A4"/>
          </p15:clr>
        </p15:guide>
        <p15:guide id="12" userDrawn="1">
          <p15:clr>
            <a:srgbClr val="A4A3A4"/>
          </p15:clr>
        </p15:guide>
        <p15:guide id="13" pos="102726" userDrawn="1">
          <p15:clr>
            <a:srgbClr val="A4A3A4"/>
          </p15:clr>
        </p15:guide>
        <p15:guide id="14" pos="101981" userDrawn="1">
          <p15:clr>
            <a:srgbClr val="A4A3A4"/>
          </p15:clr>
        </p15:guide>
        <p15:guide id="15" orient="horz" pos="1456" userDrawn="1">
          <p15:clr>
            <a:srgbClr val="A4A3A4"/>
          </p15:clr>
        </p15:guide>
        <p15:guide id="16" orient="horz" pos="36746" userDrawn="1">
          <p15:clr>
            <a:srgbClr val="A4A3A4"/>
          </p15:clr>
        </p15:guide>
        <p15:guide id="17" orient="horz" pos="15816" userDrawn="1">
          <p15:clr>
            <a:srgbClr val="A4A3A4"/>
          </p15:clr>
        </p15:guide>
        <p15:guide id="18" orient="horz" pos="73009" userDrawn="1">
          <p15:clr>
            <a:srgbClr val="A4A3A4"/>
          </p15:clr>
        </p15:guide>
        <p15:guide id="19" orient="horz" pos="55298" userDrawn="1">
          <p15:clr>
            <a:srgbClr val="A4A3A4"/>
          </p15:clr>
        </p15:guide>
        <p15:guide id="20" pos="77006" userDrawn="1">
          <p15:clr>
            <a:srgbClr val="A4A3A4"/>
          </p15:clr>
        </p15:guide>
        <p15:guide id="21" pos="543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000000"/>
    <a:srgbClr val="D8E3F1"/>
    <a:srgbClr val="004B7E"/>
    <a:srgbClr val="F9F499"/>
    <a:srgbClr val="FFFFFF"/>
    <a:srgbClr val="F8F8F8"/>
    <a:srgbClr val="0064A6"/>
    <a:srgbClr val="EAEAEA"/>
    <a:srgbClr val="2595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D30073-1886-4B8B-84A2-F8F1A0F8D1DD}" v="54" dt="2023-03-09T13:47:11.4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25" d="100"/>
          <a:sy n="25" d="100"/>
        </p:scale>
        <p:origin x="1428" y="36"/>
      </p:cViewPr>
      <p:guideLst>
        <p:guide orient="horz"/>
        <p:guide orient="horz" pos="50442"/>
        <p:guide orient="horz" pos="76715"/>
        <p:guide orient="horz" pos="69786"/>
        <p:guide orient="horz" pos="38367"/>
        <p:guide orient="horz" pos="17417"/>
        <p:guide orient="horz" pos="75435"/>
        <p:guide orient="horz" pos="6152"/>
        <p:guide pos="52046"/>
        <p:guide pos="102008"/>
        <p:guide pos="1355"/>
        <p:guide/>
        <p:guide pos="102726"/>
        <p:guide pos="101981"/>
        <p:guide orient="horz" pos="1456"/>
        <p:guide orient="horz" pos="36746"/>
        <p:guide orient="horz" pos="15816"/>
        <p:guide orient="horz" pos="73009"/>
        <p:guide orient="horz" pos="55298"/>
        <p:guide pos="77006"/>
        <p:guide pos="543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th Linard (bath)" userId="57bbb3dd-6189-4072-8fde-d29e5cbef504" providerId="ADAL" clId="{A8D30073-1886-4B8B-84A2-F8F1A0F8D1DD}"/>
    <pc:docChg chg="custSel addSld delSld modSld modSection">
      <pc:chgData name="Barth Linard (bath)" userId="57bbb3dd-6189-4072-8fde-d29e5cbef504" providerId="ADAL" clId="{A8D30073-1886-4B8B-84A2-F8F1A0F8D1DD}" dt="2023-03-09T13:47:11.470" v="529"/>
      <pc:docMkLst>
        <pc:docMk/>
      </pc:docMkLst>
      <pc:sldChg chg="del">
        <pc:chgData name="Barth Linard (bath)" userId="57bbb3dd-6189-4072-8fde-d29e5cbef504" providerId="ADAL" clId="{A8D30073-1886-4B8B-84A2-F8F1A0F8D1DD}" dt="2023-03-09T13:38:44.196" v="3" actId="47"/>
        <pc:sldMkLst>
          <pc:docMk/>
          <pc:sldMk cId="3230152337" sldId="869"/>
        </pc:sldMkLst>
      </pc:sldChg>
      <pc:sldChg chg="del">
        <pc:chgData name="Barth Linard (bath)" userId="57bbb3dd-6189-4072-8fde-d29e5cbef504" providerId="ADAL" clId="{A8D30073-1886-4B8B-84A2-F8F1A0F8D1DD}" dt="2023-03-09T13:38:31.496" v="0" actId="47"/>
        <pc:sldMkLst>
          <pc:docMk/>
          <pc:sldMk cId="3513380881" sldId="929"/>
        </pc:sldMkLst>
      </pc:sldChg>
      <pc:sldChg chg="del">
        <pc:chgData name="Barth Linard (bath)" userId="57bbb3dd-6189-4072-8fde-d29e5cbef504" providerId="ADAL" clId="{A8D30073-1886-4B8B-84A2-F8F1A0F8D1DD}" dt="2023-03-09T13:38:31.496" v="0" actId="47"/>
        <pc:sldMkLst>
          <pc:docMk/>
          <pc:sldMk cId="3846943658" sldId="930"/>
        </pc:sldMkLst>
      </pc:sldChg>
      <pc:sldChg chg="del">
        <pc:chgData name="Barth Linard (bath)" userId="57bbb3dd-6189-4072-8fde-d29e5cbef504" providerId="ADAL" clId="{A8D30073-1886-4B8B-84A2-F8F1A0F8D1DD}" dt="2023-03-09T13:38:31.496" v="0" actId="47"/>
        <pc:sldMkLst>
          <pc:docMk/>
          <pc:sldMk cId="3799492188" sldId="932"/>
        </pc:sldMkLst>
      </pc:sldChg>
      <pc:sldChg chg="del">
        <pc:chgData name="Barth Linard (bath)" userId="57bbb3dd-6189-4072-8fde-d29e5cbef504" providerId="ADAL" clId="{A8D30073-1886-4B8B-84A2-F8F1A0F8D1DD}" dt="2023-03-09T13:38:31.496" v="0" actId="47"/>
        <pc:sldMkLst>
          <pc:docMk/>
          <pc:sldMk cId="2384985376" sldId="933"/>
        </pc:sldMkLst>
      </pc:sldChg>
      <pc:sldChg chg="del">
        <pc:chgData name="Barth Linard (bath)" userId="57bbb3dd-6189-4072-8fde-d29e5cbef504" providerId="ADAL" clId="{A8D30073-1886-4B8B-84A2-F8F1A0F8D1DD}" dt="2023-03-09T13:38:43.342" v="2" actId="47"/>
        <pc:sldMkLst>
          <pc:docMk/>
          <pc:sldMk cId="2443149098" sldId="934"/>
        </pc:sldMkLst>
      </pc:sldChg>
      <pc:sldChg chg="del">
        <pc:chgData name="Barth Linard (bath)" userId="57bbb3dd-6189-4072-8fde-d29e5cbef504" providerId="ADAL" clId="{A8D30073-1886-4B8B-84A2-F8F1A0F8D1DD}" dt="2023-03-09T13:38:31.496" v="0" actId="47"/>
        <pc:sldMkLst>
          <pc:docMk/>
          <pc:sldMk cId="1545189808" sldId="935"/>
        </pc:sldMkLst>
      </pc:sldChg>
      <pc:sldChg chg="del">
        <pc:chgData name="Barth Linard (bath)" userId="57bbb3dd-6189-4072-8fde-d29e5cbef504" providerId="ADAL" clId="{A8D30073-1886-4B8B-84A2-F8F1A0F8D1DD}" dt="2023-03-09T13:38:31.496" v="0" actId="47"/>
        <pc:sldMkLst>
          <pc:docMk/>
          <pc:sldMk cId="3846859381" sldId="936"/>
        </pc:sldMkLst>
      </pc:sldChg>
      <pc:sldChg chg="addSp delSp modSp mod">
        <pc:chgData name="Barth Linard (bath)" userId="57bbb3dd-6189-4072-8fde-d29e5cbef504" providerId="ADAL" clId="{A8D30073-1886-4B8B-84A2-F8F1A0F8D1DD}" dt="2023-03-09T13:47:11.470" v="529"/>
        <pc:sldMkLst>
          <pc:docMk/>
          <pc:sldMk cId="2758796084" sldId="937"/>
        </pc:sldMkLst>
        <pc:spChg chg="add del mod">
          <ac:chgData name="Barth Linard (bath)" userId="57bbb3dd-6189-4072-8fde-d29e5cbef504" providerId="ADAL" clId="{A8D30073-1886-4B8B-84A2-F8F1A0F8D1DD}" dt="2023-03-09T13:40:52.863" v="94" actId="21"/>
          <ac:spMkLst>
            <pc:docMk/>
            <pc:sldMk cId="2758796084" sldId="937"/>
            <ac:spMk id="2" creationId="{BAB502EA-301D-F05C-942A-A675979083C9}"/>
          </ac:spMkLst>
        </pc:spChg>
        <pc:spChg chg="add mod">
          <ac:chgData name="Barth Linard (bath)" userId="57bbb3dd-6189-4072-8fde-d29e5cbef504" providerId="ADAL" clId="{A8D30073-1886-4B8B-84A2-F8F1A0F8D1DD}" dt="2023-03-09T13:47:11.470" v="529"/>
          <ac:spMkLst>
            <pc:docMk/>
            <pc:sldMk cId="2758796084" sldId="937"/>
            <ac:spMk id="3" creationId="{A5551D25-7D05-E409-6972-8C0E16D603A4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4" creationId="{B66DC24F-6B6E-4B60-A42C-32081C1A0790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5" creationId="{48A7517C-1D2F-4CAC-A8E0-5A0FD5A4D12F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33" creationId="{A6034E41-71B8-43D1-907C-F4ECF1F87112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34" creationId="{E8505359-E607-4C90-8C6C-83FF768CD4D9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39" creationId="{871A6A24-3280-40EC-92D6-0922D5A9696F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41" creationId="{1E4CC50B-FCA2-42EB-9B3B-139B12E41189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43" creationId="{50134D89-DE77-4A8F-AE41-64EFAB98D866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44" creationId="{45D663F0-6D70-4556-99FB-930753679562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53" creationId="{7355004F-DBED-42A7-96D8-7A4575D76CAC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57" creationId="{676F4EA2-7388-453B-8B16-104581194180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60" creationId="{BA41DA48-D614-47B5-9A35-CCEDD440BAEA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62" creationId="{5C73B0BB-693C-4254-AB40-0FC2ECC95744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63" creationId="{770D6DDF-390C-4AFA-B1C4-1239AD36EB5A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64" creationId="{F2887F78-66A1-46F0-B259-63501CB5C35C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65" creationId="{4CE44A04-8665-4986-9E37-6E42746EDD73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96" creationId="{CA958F75-F9F1-4BE1-8992-180131D2D3D3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98" creationId="{553B19C2-D182-40D9-B2EE-D6323B142459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99" creationId="{7FD9DD2F-62FE-4318-9449-466C985F8377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00" creationId="{22D7C092-4654-4FD1-ACE3-A82633F85228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07" creationId="{3D888585-8202-4B13-9D1D-2118088923DF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08" creationId="{E9265AAD-744D-40DC-ADF5-8879889CBAA1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09" creationId="{D4C946D7-E2EC-44E3-8C37-1DD2A266A73D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11" creationId="{71E66980-5CDB-42A2-8F1A-11F3F9FF4C90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14" creationId="{4BDB4060-7270-4485-A224-2371ED3B95B8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15" creationId="{6589CBB6-2461-4F06-8309-2F5447584F90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16" creationId="{06A11935-6DA4-4244-96B3-20C48F451547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17" creationId="{DA2B7E80-3D28-41DF-89B5-8005AD84C0B8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18" creationId="{E95D78D9-7428-4501-B8E3-9F232C0B1237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19" creationId="{CF37144F-8F91-4A61-84A9-1952C180CCD1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20" creationId="{9892B247-CB43-4C06-B1DB-9CB72E53810E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21" creationId="{1AF1BD5D-7116-443B-87BF-04A42BDE7B3F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22" creationId="{694E54C7-AA66-43D6-AAC4-BAD331080553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24" creationId="{9CDD9703-8982-44C6-B8AC-6C029339FE14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25" creationId="{92A332CF-964A-47AE-854A-F080C976AD55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26" creationId="{5A769282-57E6-4D04-99D0-D5FD5FD6A71F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27" creationId="{70CF025E-C282-4851-BF1A-DE73141F2628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28" creationId="{0F78CF5C-CF40-4A76-9E51-FCE6D935DA7A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29" creationId="{E7A2F8EC-960C-4D7C-A772-7CC8F62A87F8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31" creationId="{2611D40D-C331-4A65-91B5-3B679073B81A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32" creationId="{F5E593D4-8DC8-4329-A7E0-2A8F857F54BC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33" creationId="{FAC7FA06-C42D-44AA-8CCB-55474691FAB6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34" creationId="{F29821D1-B8F6-4385-8AB4-F1699760B4B1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35" creationId="{2B9FD3F6-1C56-4B0B-8760-0634B67FBD71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36" creationId="{592027F6-808E-4517-B37A-93A80FF60BC1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37" creationId="{D68B4DA0-3916-4F2F-953D-554CBF558F7E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38" creationId="{324EF82E-066F-44A3-B63E-F58AE95DCB7A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39" creationId="{006E9120-B4B3-4419-94CE-E017BB3D4B6F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41" creationId="{B1EC7A74-5BBA-48B7-A8C0-97B4A4B628BE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42" creationId="{B623B52E-85E2-4FE1-AA58-187095F7DB33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43" creationId="{7FA66A5C-93DE-42A9-A65A-3A93CABEB0D6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44" creationId="{74D3628B-8864-4228-B63E-68D59FBCF5F1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45" creationId="{A80FC9FA-078A-406B-A166-782015EB069D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46" creationId="{BBE3EFFF-53B0-46F7-B98E-7DE111FD355F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47" creationId="{DF4BC681-10B6-4689-BD87-B749E8E9E05C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48" creationId="{2308FD0F-AEF2-4208-8F21-0CFD387EC67B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49" creationId="{5DE69660-9AFB-4ECB-BE39-A490142D883A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50" creationId="{D04A4D8A-1816-46BE-9BCE-7F28CFC4D95C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51" creationId="{B915ECE7-242A-4731-B5FD-BC70AB6D7D84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52" creationId="{A3786812-F555-4779-A6BA-D240E73898F7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53" creationId="{1FF468BC-4401-4AF2-800C-6E75D0FD25EA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54" creationId="{C53BF388-5199-45CD-B083-20657CE9A072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55" creationId="{0EBBBF25-E60D-4F42-BEE4-68ADD5A94E75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56" creationId="{5BA75DA4-1DA4-44AF-8D71-92F695170082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57" creationId="{716EC27E-DA2A-49D4-B26B-E5F5D55E870A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58" creationId="{5732CD91-0CC0-4C71-897C-B78E33A4B4B8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60" creationId="{7BAF72F9-6C84-4D53-8014-DF07AAFE6D07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71" creationId="{6E211505-C055-4558-B4F1-0257FBB59BEF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75" creationId="{5B6C6424-0CDF-46D5-AF08-927F8BA9F7EB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76" creationId="{708C70F5-0EBA-4DED-80C6-21BD6B4F53A0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77" creationId="{3A07D29C-0602-41BE-8AF9-A0BECAF3861D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90" creationId="{F9F143B3-443A-4651-9732-C41FACE34ECE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91" creationId="{CC50BD51-720E-4745-8123-F5D2013D7003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92" creationId="{8D562023-1A64-43EA-9C13-E9CCB0FA5377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93" creationId="{E2D996F3-AC30-405C-9F6F-3008F22C62FB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94" creationId="{2EB301FA-995D-4509-AC93-1408F1B52A9E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95" creationId="{3341A212-5EF7-45F2-9700-F099A6B3D6CD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96" creationId="{5F9132C6-94D3-4A8C-AF72-4814DE8025B4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198" creationId="{1F9A00B8-979E-465A-A0A0-08489F08DEB2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19" creationId="{07BD7FFF-C2AA-4487-9400-BA7801EAD1A4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20" creationId="{D1C2B05B-BB0E-40C9-B4FD-A6AE345239A8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21" creationId="{36D5FF08-29E9-4A2E-B900-B11330207E8E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22" creationId="{967F232E-F172-427C-B696-2A0701784BAB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29" creationId="{21272117-8BDD-48C4-A24F-F99DB71DDBB1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30" creationId="{DEE1D9C0-E914-42A9-9CCB-4C5C538A5AEA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37" creationId="{FE83EFAA-75CA-461A-BDCC-4ADAA76B9CF4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38" creationId="{A6B30F11-C7A4-4959-AFCA-D4FE716AEE38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40" creationId="{985ABCE6-C5CC-450A-9146-2B9E2DA50543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41" creationId="{3C906801-5358-44E9-9BCC-531D60D77A06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42" creationId="{7EC3945D-07A9-4119-A1CF-64354243DD7E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43" creationId="{D8A4B695-CF5B-4C09-BD0D-7968278A2591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44" creationId="{CDD39D9D-5B03-4B44-8E74-E693A9BB5A57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45" creationId="{4304AAAB-9291-4CF8-8348-FA27A7FFF15E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47" creationId="{B9100D16-BCDB-4574-9945-3E16443A30A1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64" creationId="{43438EEA-DCBC-48EC-BECE-F93F08B86F03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65" creationId="{1ACE2B48-246D-4C5D-B5AF-679D7C99255F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66" creationId="{1B5A92CC-54F4-451F-A9CC-ECABDDE4BB4E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88" creationId="{483E73A6-3DFB-4BF0-B349-D1762E163548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89" creationId="{BF601C25-E6A5-4B3C-9C29-F8F175A5CE55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90" creationId="{D8D538C3-B900-43D4-A7B2-20B0E35D7B50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91" creationId="{3DEC26D5-C658-4E69-8436-FE1E8880DC7E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293" creationId="{F4AE239E-B819-44F4-8681-983B891A5017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302" creationId="{C8867DCD-8C9B-4E08-856D-9B83FB1E72A1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303" creationId="{9F198B8B-6A47-4A1A-A5BB-FE2E30097B64}"/>
          </ac:spMkLst>
        </pc:spChg>
        <pc:spChg chg="mod">
          <ac:chgData name="Barth Linard (bath)" userId="57bbb3dd-6189-4072-8fde-d29e5cbef504" providerId="ADAL" clId="{A8D30073-1886-4B8B-84A2-F8F1A0F8D1DD}" dt="2023-03-09T13:39:20.512" v="46" actId="1035"/>
          <ac:spMkLst>
            <pc:docMk/>
            <pc:sldMk cId="2758796084" sldId="937"/>
            <ac:spMk id="307" creationId="{B5882F97-B052-470B-BE40-BD385DB731C1}"/>
          </ac:spMkLst>
        </pc:spChg>
        <pc:grpChg chg="mod">
          <ac:chgData name="Barth Linard (bath)" userId="57bbb3dd-6189-4072-8fde-d29e5cbef504" providerId="ADAL" clId="{A8D30073-1886-4B8B-84A2-F8F1A0F8D1DD}" dt="2023-03-09T13:39:20.512" v="46" actId="1035"/>
          <ac:grpSpMkLst>
            <pc:docMk/>
            <pc:sldMk cId="2758796084" sldId="937"/>
            <ac:grpSpMk id="167" creationId="{04033B39-55B8-4893-BD8E-F513C774D78C}"/>
          </ac:grpSpMkLst>
        </pc:grp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78" creationId="{F6DE7151-B31F-4924-A0D2-387C5B0BC94B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79" creationId="{6AD7DA15-20AE-4C0C-B8DD-072F00886904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80" creationId="{2BFE5A7D-9444-421A-85DA-4310C0DE1EF4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81" creationId="{196897F3-AD93-48BE-BDAB-BC5B47E5F449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82" creationId="{3B24B123-7445-4AE5-B580-0B5B671F5C84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83" creationId="{F4936960-6BF4-465F-BCEF-778C986F00B9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84" creationId="{0F593E88-5E06-4ADD-8190-A375B00C2C14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85" creationId="{517B29EF-525E-4F3D-AE58-BF41914976B0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86" creationId="{038D0E8E-BACF-452D-ACF1-A2EFC9D3F184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87" creationId="{79BFFBC8-8D69-4D78-A595-BBEDF46479FC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88" creationId="{B4AAAEB1-96D5-4E57-893E-9B8DC1F32153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189" creationId="{8798FDAC-966E-421E-A5F7-D02720BFA390}"/>
          </ac:picMkLst>
        </pc:picChg>
        <pc:picChg chg="mod">
          <ac:chgData name="Barth Linard (bath)" userId="57bbb3dd-6189-4072-8fde-d29e5cbef504" providerId="ADAL" clId="{A8D30073-1886-4B8B-84A2-F8F1A0F8D1DD}" dt="2023-03-09T13:39:20.512" v="46" actId="1035"/>
          <ac:picMkLst>
            <pc:docMk/>
            <pc:sldMk cId="2758796084" sldId="937"/>
            <ac:picMk id="213" creationId="{E72D3E23-D9F2-4AC6-92A3-EDBC3EF56E3C}"/>
          </ac:picMkLst>
        </pc:picChg>
        <pc:inkChg chg="mod">
          <ac:chgData name="Barth Linard (bath)" userId="57bbb3dd-6189-4072-8fde-d29e5cbef504" providerId="ADAL" clId="{A8D30073-1886-4B8B-84A2-F8F1A0F8D1DD}" dt="2023-03-09T13:39:20.512" v="46" actId="1035"/>
          <ac:inkMkLst>
            <pc:docMk/>
            <pc:sldMk cId="2758796084" sldId="937"/>
            <ac:inkMk id="123" creationId="{61EFCB14-9316-46A5-BF76-765C86E1FFD7}"/>
          </ac:inkMkLst>
        </pc:inkChg>
        <pc:cxnChg chg="mod">
          <ac:chgData name="Barth Linard (bath)" userId="57bbb3dd-6189-4072-8fde-d29e5cbef504" providerId="ADAL" clId="{A8D30073-1886-4B8B-84A2-F8F1A0F8D1DD}" dt="2023-03-09T13:39:20.512" v="46" actId="1035"/>
          <ac:cxnSpMkLst>
            <pc:docMk/>
            <pc:sldMk cId="2758796084" sldId="937"/>
            <ac:cxnSpMk id="6" creationId="{71CD099D-B167-4A48-BEE4-08A4615D4360}"/>
          </ac:cxnSpMkLst>
        </pc:cxnChg>
        <pc:cxnChg chg="mod">
          <ac:chgData name="Barth Linard (bath)" userId="57bbb3dd-6189-4072-8fde-d29e5cbef504" providerId="ADAL" clId="{A8D30073-1886-4B8B-84A2-F8F1A0F8D1DD}" dt="2023-03-09T13:39:20.512" v="46" actId="1035"/>
          <ac:cxnSpMkLst>
            <pc:docMk/>
            <pc:sldMk cId="2758796084" sldId="937"/>
            <ac:cxnSpMk id="140" creationId="{4505CAB4-5138-42CE-B456-5E68364163B1}"/>
          </ac:cxnSpMkLst>
        </pc:cxnChg>
      </pc:sldChg>
      <pc:sldChg chg="delSp del mod">
        <pc:chgData name="Barth Linard (bath)" userId="57bbb3dd-6189-4072-8fde-d29e5cbef504" providerId="ADAL" clId="{A8D30073-1886-4B8B-84A2-F8F1A0F8D1DD}" dt="2023-03-09T13:38:53.451" v="4" actId="47"/>
        <pc:sldMkLst>
          <pc:docMk/>
          <pc:sldMk cId="955917480" sldId="938"/>
        </pc:sldMkLst>
        <pc:spChg chg="del">
          <ac:chgData name="Barth Linard (bath)" userId="57bbb3dd-6189-4072-8fde-d29e5cbef504" providerId="ADAL" clId="{A8D30073-1886-4B8B-84A2-F8F1A0F8D1DD}" dt="2023-03-09T13:38:39.695" v="1" actId="478"/>
          <ac:spMkLst>
            <pc:docMk/>
            <pc:sldMk cId="955917480" sldId="938"/>
            <ac:spMk id="173" creationId="{1ED7C07C-50E8-4433-A0DE-7403DF783A16}"/>
          </ac:spMkLst>
        </pc:spChg>
      </pc:sldChg>
      <pc:sldChg chg="addSp modSp mod">
        <pc:chgData name="Barth Linard (bath)" userId="57bbb3dd-6189-4072-8fde-d29e5cbef504" providerId="ADAL" clId="{A8D30073-1886-4B8B-84A2-F8F1A0F8D1DD}" dt="2023-03-09T13:47:06.259" v="528" actId="113"/>
        <pc:sldMkLst>
          <pc:docMk/>
          <pc:sldMk cId="997136635" sldId="941"/>
        </pc:sldMkLst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" creationId="{4308E67F-7656-4007-EB64-C7C49526AB3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" creationId="{595C853E-7080-84AE-296C-B20F06C26D2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4" creationId="{B66DC24F-6B6E-4B60-A42C-32081C1A0790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5" creationId="{F85A77FA-88B6-8E9C-D0B1-49AD7E22EC22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7" creationId="{9CC9C909-3738-CB32-C7C3-55E80B87F0B3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8" creationId="{B13FA47D-DC96-C12D-DC42-AF9A8AC7B95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9" creationId="{396FBA85-0D99-4F0E-9263-BE1C6CD63EF2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0" creationId="{2186C58A-B75E-8075-A6D1-BA7802150F1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1" creationId="{06306111-3AE7-2EBE-687F-84C3F519CB0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2" creationId="{48E64540-9D4F-152E-9A2F-D3F2D22DCFE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3" creationId="{E6D6FC0C-060B-B273-BDDB-B3475CE7481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4" creationId="{BFEDB062-427E-6416-6E81-24DB03C6E2D9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5" creationId="{3BDDEFCB-5345-70C3-CA63-64C57E0D880E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6" creationId="{13C87551-46AA-7722-9927-FFDFD80DA21D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7" creationId="{9F0DCE4B-A14B-2C26-073B-1EFFA9001046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8" creationId="{8869587E-8C35-AB87-7C24-51FDACE39027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9" creationId="{B31CBA1E-A485-AF99-27DC-DB43C3C34847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0" creationId="{4104A866-0710-0905-B6F0-EB79C8F4A48C}"/>
          </ac:spMkLst>
        </pc:spChg>
        <pc:spChg chg="add mod">
          <ac:chgData name="Barth Linard (bath)" userId="57bbb3dd-6189-4072-8fde-d29e5cbef504" providerId="ADAL" clId="{A8D30073-1886-4B8B-84A2-F8F1A0F8D1DD}" dt="2023-03-09T13:47:06.259" v="528" actId="113"/>
          <ac:spMkLst>
            <pc:docMk/>
            <pc:sldMk cId="997136635" sldId="941"/>
            <ac:spMk id="21" creationId="{F2A7192F-8964-C234-7A08-CB66CC8E1C3D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41" creationId="{1E4CC50B-FCA2-42EB-9B3B-139B12E41189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43" creationId="{50134D89-DE77-4A8F-AE41-64EFAB98D866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44" creationId="{45D663F0-6D70-4556-99FB-930753679562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53" creationId="{7355004F-DBED-42A7-96D8-7A4575D76CAC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57" creationId="{676F4EA2-7388-453B-8B16-104581194180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60" creationId="{BA41DA48-D614-47B5-9A35-CCEDD440BAEA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96" creationId="{CA958F75-F9F1-4BE1-8992-180131D2D3D3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30" creationId="{76F153EC-E4D2-448E-9A85-6E67BDD63F44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31" creationId="{2611D40D-C331-4A65-91B5-3B679073B81A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37" creationId="{91EB7D8D-DC47-4D1C-B52B-5A92CD4BFF6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38" creationId="{5EA5459A-C714-402A-81A8-0FD12B486806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41" creationId="{B1EC7A74-5BBA-48B7-A8C0-97B4A4B628BE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42" creationId="{B623B52E-85E2-4FE1-AA58-187095F7DB33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43" creationId="{7FA66A5C-93DE-42A9-A65A-3A93CABEB0D6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44" creationId="{74D3628B-8864-4228-B63E-68D59FBCF5F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45" creationId="{A80FC9FA-078A-406B-A166-782015EB069D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46" creationId="{BBE3EFFF-53B0-46F7-B98E-7DE111FD355F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47" creationId="{DF4BC681-10B6-4689-BD87-B749E8E9E05C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48" creationId="{2308FD0F-AEF2-4208-8F21-0CFD387EC67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49" creationId="{AC275B61-C843-41DD-99C6-685B6584650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50" creationId="{63E9159D-D196-4CA2-9C65-F8DC62DE8840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51" creationId="{1D486EA4-D590-45D4-981E-4C5B11BDE60A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52" creationId="{32D73E33-760A-4300-BFCD-528CD5A6D6B7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53" creationId="{37EE885E-DAC3-41C7-BC2C-EF7CAEBE7523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54" creationId="{C53BF388-5199-45CD-B083-20657CE9A072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55" creationId="{0EBBBF25-E60D-4F42-BEE4-68ADD5A94E75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56" creationId="{5BA75DA4-1DA4-44AF-8D71-92F695170082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57" creationId="{716EC27E-DA2A-49D4-B26B-E5F5D55E870A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58" creationId="{5732CD91-0CC0-4C71-897C-B78E33A4B4B8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60" creationId="{6352B5E7-7EEC-4675-BC0E-5614AEABC0CF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65" creationId="{3CBA21A3-895C-45BC-A6AE-0C8B6B0CD560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66" creationId="{5794D95E-4C18-43F2-B3B9-7FA614A64A1C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68" creationId="{2B02FFA7-D8EE-4409-912A-C3EEF586FCE7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70" creationId="{B5488265-3F7F-4179-9768-E5549A5F2676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71" creationId="{6E211505-C055-4558-B4F1-0257FBB59BEF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72" creationId="{EE159874-C343-4CDF-AE85-5292F8429F5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74" creationId="{CA1A1531-341D-4240-912D-1E6BD9A52AC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75" creationId="{5B6C6424-0CDF-46D5-AF08-927F8BA9F7E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76" creationId="{708C70F5-0EBA-4DED-80C6-21BD6B4F53A0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77" creationId="{3A07D29C-0602-41BE-8AF9-A0BECAF3861D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79" creationId="{2EA5B9F1-DE1F-4957-ACF4-A0C7BE6A9254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80" creationId="{9E454A97-9595-46EA-8A2A-12BEB1F29508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81" creationId="{00C6DA69-AD75-45F4-A172-DCB9514B6573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82" creationId="{0EA5B6EB-09EA-4A55-9199-09AAABB366E8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83" creationId="{27FE279C-1608-4D06-ACAA-D951F0095F16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84" creationId="{FB28B591-F520-43D4-B154-6F377437163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90" creationId="{F9F143B3-443A-4651-9732-C41FACE34ECE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93" creationId="{E2D996F3-AC30-405C-9F6F-3008F22C62F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95" creationId="{3341A212-5EF7-45F2-9700-F099A6B3D6CD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97" creationId="{B9D42094-01DE-4A3B-93AD-2A729868C723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98" creationId="{1F9A00B8-979E-465A-A0A0-08489F08DEB2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199" creationId="{0ED7A985-1091-420E-818D-C62BCF04C00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00" creationId="{E7C36B93-5340-470B-B02F-E39545B9AB8F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01" creationId="{0E251FC8-BB2C-4D38-8DBE-130D30D06AD9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02" creationId="{E6F54CBC-1CD7-4BFD-92C1-DD58FDD8A0B7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03" creationId="{1649A33D-9E83-4166-904C-C4EF071E1C28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04" creationId="{A7D9BFEC-4405-488E-885F-FCB4F8B4814D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05" creationId="{B1015A0F-7E52-4E0E-94AA-6E60BB024CA4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06" creationId="{180924BE-5965-4054-A5A0-BCEF206A5CF9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19" creationId="{07BD7FFF-C2AA-4487-9400-BA7801EAD1A4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20" creationId="{D1C2B05B-BB0E-40C9-B4FD-A6AE345239A8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21" creationId="{36D5FF08-29E9-4A2E-B900-B11330207E8E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22" creationId="{967F232E-F172-427C-B696-2A0701784BA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29" creationId="{21272117-8BDD-48C4-A24F-F99DB71DDBB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30" creationId="{DEE1D9C0-E914-42A9-9CCB-4C5C538A5AEA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40" creationId="{985ABCE6-C5CC-450A-9146-2B9E2DA50543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42" creationId="{7EC3945D-07A9-4119-A1CF-64354243DD7E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43" creationId="{D8A4B695-CF5B-4C09-BD0D-7968278A259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44" creationId="{CDD39D9D-5B03-4B44-8E74-E693A9BB5A57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79" creationId="{D19579D5-B055-4DEB-8561-C228288FDB62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80" creationId="{795A5D56-36EB-4F63-A4B5-CC527DD7F724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81" creationId="{22F24672-B46B-4A80-8A86-EA9D307F2F1E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82" creationId="{08722CDA-7E3D-4867-B8F1-731CD8600B1E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83" creationId="{AC842B7F-5D59-48D2-92AC-AA3C45BA63A7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84" creationId="{D17A4C98-D453-4D46-8F1D-E14E1DCD8275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88" creationId="{483E73A6-3DFB-4BF0-B349-D1762E163548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89" creationId="{BF601C25-E6A5-4B3C-9C29-F8F175A5CE55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90" creationId="{D8D538C3-B900-43D4-A7B2-20B0E35D7B50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91" creationId="{3DEC26D5-C658-4E69-8436-FE1E8880DC7E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92" creationId="{6FA15ACA-D594-4BAF-A300-58720AFCA2B7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93" creationId="{F4AE239E-B819-44F4-8681-983B891A5017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94" creationId="{A4EB84A4-BE86-4D02-90BC-B6BB460E2BCC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95" creationId="{D37CA5A6-076E-42F9-948F-28514A8EAF7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96" creationId="{0CD9B5B8-00F6-451D-B841-4A5F956ACE25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299" creationId="{1F26B7B7-0C20-479C-BB4E-7C47C73D911F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00" creationId="{2E8FA61C-304F-41CC-BCC1-DF9946EA042F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01" creationId="{FB40F7EC-0DC9-4455-9B91-329B0C73986C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04" creationId="{A05A16A4-D110-457F-B1B7-98B1C2A8DA9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05" creationId="{44908CF2-919A-469F-920E-499D9F802433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06" creationId="{ACC89CD1-1E31-4859-81E6-E001194AB9D3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08" creationId="{C2941FFC-9033-4701-BC14-3F350694999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09" creationId="{DDC16BB3-2972-46E5-A777-1CF3A6E39B45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10" creationId="{FDA5F081-C92D-475F-B803-5F1C16EF42E6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11" creationId="{FAD8090B-8A7B-48DE-8EB1-1949F2CA657C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12" creationId="{8CE70572-4FD6-45D0-A117-FA5BF82299CF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13" creationId="{23E8252A-3F8B-4671-B133-32A09E33A05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14" creationId="{113A7B5B-A82D-4BDA-B923-104C88CE54A4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15" creationId="{4146C894-F5C9-424C-8DC2-47E550B741A0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16" creationId="{411886DC-048D-4B57-94FB-E712033A4A12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17" creationId="{F4A41CDA-3C00-4F7B-8326-3A271F5A7623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18" creationId="{4EB15C98-FAE2-4E98-AEB7-06C84B1A8FC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19" creationId="{F7FBF3E6-F097-412E-9C4C-AB58ADB811E8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21" creationId="{B82F2019-EE25-40C9-B543-477719BCC41C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23" creationId="{E00B9B5D-D07E-46DF-820F-B7B20E7D04D8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24" creationId="{4B8E4442-A32F-424C-94D1-BA792FD7CBBB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25" creationId="{F7E0600F-0456-4B80-908E-5CAA68415051}"/>
          </ac:spMkLst>
        </pc:spChg>
        <pc:spChg chg="mod">
          <ac:chgData name="Barth Linard (bath)" userId="57bbb3dd-6189-4072-8fde-d29e5cbef504" providerId="ADAL" clId="{A8D30073-1886-4B8B-84A2-F8F1A0F8D1DD}" dt="2023-03-09T13:46:42.797" v="502" actId="1036"/>
          <ac:spMkLst>
            <pc:docMk/>
            <pc:sldMk cId="997136635" sldId="941"/>
            <ac:spMk id="326" creationId="{FB11BA70-EA5D-42D5-A64C-D0572A2C842A}"/>
          </ac:spMkLst>
        </pc:spChg>
        <pc:grpChg chg="mod">
          <ac:chgData name="Barth Linard (bath)" userId="57bbb3dd-6189-4072-8fde-d29e5cbef504" providerId="ADAL" clId="{A8D30073-1886-4B8B-84A2-F8F1A0F8D1DD}" dt="2023-03-09T13:46:42.797" v="502" actId="1036"/>
          <ac:grpSpMkLst>
            <pc:docMk/>
            <pc:sldMk cId="997136635" sldId="941"/>
            <ac:grpSpMk id="167" creationId="{04033B39-55B8-4893-BD8E-F513C774D78C}"/>
          </ac:grpSpMkLst>
        </pc:grpChg>
        <pc:picChg chg="mod">
          <ac:chgData name="Barth Linard (bath)" userId="57bbb3dd-6189-4072-8fde-d29e5cbef504" providerId="ADAL" clId="{A8D30073-1886-4B8B-84A2-F8F1A0F8D1DD}" dt="2023-03-09T13:46:42.797" v="502" actId="1036"/>
          <ac:picMkLst>
            <pc:docMk/>
            <pc:sldMk cId="997136635" sldId="941"/>
            <ac:picMk id="169" creationId="{0C4F6394-C59D-4462-998C-527F8436DB14}"/>
          </ac:picMkLst>
        </pc:picChg>
        <pc:picChg chg="mod">
          <ac:chgData name="Barth Linard (bath)" userId="57bbb3dd-6189-4072-8fde-d29e5cbef504" providerId="ADAL" clId="{A8D30073-1886-4B8B-84A2-F8F1A0F8D1DD}" dt="2023-03-09T13:46:42.797" v="502" actId="1036"/>
          <ac:picMkLst>
            <pc:docMk/>
            <pc:sldMk cId="997136635" sldId="941"/>
            <ac:picMk id="213" creationId="{E72D3E23-D9F2-4AC6-92A3-EDBC3EF56E3C}"/>
          </ac:picMkLst>
        </pc:picChg>
        <pc:picChg chg="mod">
          <ac:chgData name="Barth Linard (bath)" userId="57bbb3dd-6189-4072-8fde-d29e5cbef504" providerId="ADAL" clId="{A8D30073-1886-4B8B-84A2-F8F1A0F8D1DD}" dt="2023-03-09T13:46:42.797" v="502" actId="1036"/>
          <ac:picMkLst>
            <pc:docMk/>
            <pc:sldMk cId="997136635" sldId="941"/>
            <ac:picMk id="285" creationId="{3BA3852C-9552-4142-9271-E21048277386}"/>
          </ac:picMkLst>
        </pc:picChg>
        <pc:picChg chg="mod">
          <ac:chgData name="Barth Linard (bath)" userId="57bbb3dd-6189-4072-8fde-d29e5cbef504" providerId="ADAL" clId="{A8D30073-1886-4B8B-84A2-F8F1A0F8D1DD}" dt="2023-03-09T13:46:42.797" v="502" actId="1036"/>
          <ac:picMkLst>
            <pc:docMk/>
            <pc:sldMk cId="997136635" sldId="941"/>
            <ac:picMk id="286" creationId="{F8718512-691C-4024-9E3B-80105705CEF8}"/>
          </ac:picMkLst>
        </pc:picChg>
        <pc:picChg chg="mod">
          <ac:chgData name="Barth Linard (bath)" userId="57bbb3dd-6189-4072-8fde-d29e5cbef504" providerId="ADAL" clId="{A8D30073-1886-4B8B-84A2-F8F1A0F8D1DD}" dt="2023-03-09T13:46:42.797" v="502" actId="1036"/>
          <ac:picMkLst>
            <pc:docMk/>
            <pc:sldMk cId="997136635" sldId="941"/>
            <ac:picMk id="287" creationId="{EA2BB48B-B181-47CD-B064-93B9F8D7AB43}"/>
          </ac:picMkLst>
        </pc:picChg>
        <pc:picChg chg="mod">
          <ac:chgData name="Barth Linard (bath)" userId="57bbb3dd-6189-4072-8fde-d29e5cbef504" providerId="ADAL" clId="{A8D30073-1886-4B8B-84A2-F8F1A0F8D1DD}" dt="2023-03-09T13:46:42.797" v="502" actId="1036"/>
          <ac:picMkLst>
            <pc:docMk/>
            <pc:sldMk cId="997136635" sldId="941"/>
            <ac:picMk id="297" creationId="{9995D5C2-8D55-4497-8259-CD3DC8EEF273}"/>
          </ac:picMkLst>
        </pc:picChg>
        <pc:picChg chg="mod">
          <ac:chgData name="Barth Linard (bath)" userId="57bbb3dd-6189-4072-8fde-d29e5cbef504" providerId="ADAL" clId="{A8D30073-1886-4B8B-84A2-F8F1A0F8D1DD}" dt="2023-03-09T13:46:42.797" v="502" actId="1036"/>
          <ac:picMkLst>
            <pc:docMk/>
            <pc:sldMk cId="997136635" sldId="941"/>
            <ac:picMk id="62466" creationId="{7E346ABF-ACDB-4D45-A1C9-498EAB98B29D}"/>
          </ac:picMkLst>
        </pc:picChg>
        <pc:inkChg chg="mod">
          <ac:chgData name="Barth Linard (bath)" userId="57bbb3dd-6189-4072-8fde-d29e5cbef504" providerId="ADAL" clId="{A8D30073-1886-4B8B-84A2-F8F1A0F8D1DD}" dt="2023-03-09T13:46:42.797" v="502" actId="1036"/>
          <ac:inkMkLst>
            <pc:docMk/>
            <pc:sldMk cId="997136635" sldId="941"/>
            <ac:inkMk id="123" creationId="{61EFCB14-9316-46A5-BF76-765C86E1FFD7}"/>
          </ac:inkMkLst>
        </pc:inkChg>
        <pc:cxnChg chg="mod">
          <ac:chgData name="Barth Linard (bath)" userId="57bbb3dd-6189-4072-8fde-d29e5cbef504" providerId="ADAL" clId="{A8D30073-1886-4B8B-84A2-F8F1A0F8D1DD}" dt="2023-03-09T13:46:42.797" v="502" actId="1036"/>
          <ac:cxnSpMkLst>
            <pc:docMk/>
            <pc:sldMk cId="997136635" sldId="941"/>
            <ac:cxnSpMk id="6" creationId="{71CD099D-B167-4A48-BEE4-08A4615D4360}"/>
          </ac:cxnSpMkLst>
        </pc:cxnChg>
      </pc:sldChg>
      <pc:sldChg chg="addSp delSp modSp new mod">
        <pc:chgData name="Barth Linard (bath)" userId="57bbb3dd-6189-4072-8fde-d29e5cbef504" providerId="ADAL" clId="{A8D30073-1886-4B8B-84A2-F8F1A0F8D1DD}" dt="2023-03-09T13:45:45.532" v="383" actId="113"/>
        <pc:sldMkLst>
          <pc:docMk/>
          <pc:sldMk cId="2928948159" sldId="942"/>
        </pc:sldMkLst>
        <pc:spChg chg="del">
          <ac:chgData name="Barth Linard (bath)" userId="57bbb3dd-6189-4072-8fde-d29e5cbef504" providerId="ADAL" clId="{A8D30073-1886-4B8B-84A2-F8F1A0F8D1DD}" dt="2023-03-09T13:41:01.150" v="97" actId="478"/>
          <ac:spMkLst>
            <pc:docMk/>
            <pc:sldMk cId="2928948159" sldId="942"/>
            <ac:spMk id="2" creationId="{23AE7AA1-4515-AC5D-EC51-0ECB9647A376}"/>
          </ac:spMkLst>
        </pc:spChg>
        <pc:spChg chg="del">
          <ac:chgData name="Barth Linard (bath)" userId="57bbb3dd-6189-4072-8fde-d29e5cbef504" providerId="ADAL" clId="{A8D30073-1886-4B8B-84A2-F8F1A0F8D1DD}" dt="2023-03-09T13:41:01.150" v="97" actId="478"/>
          <ac:spMkLst>
            <pc:docMk/>
            <pc:sldMk cId="2928948159" sldId="942"/>
            <ac:spMk id="3" creationId="{2D5A5A11-CCFD-C4FF-4C7C-D9C97E81197F}"/>
          </ac:spMkLst>
        </pc:spChg>
        <pc:spChg chg="del">
          <ac:chgData name="Barth Linard (bath)" userId="57bbb3dd-6189-4072-8fde-d29e5cbef504" providerId="ADAL" clId="{A8D30073-1886-4B8B-84A2-F8F1A0F8D1DD}" dt="2023-03-09T13:41:01.150" v="97" actId="478"/>
          <ac:spMkLst>
            <pc:docMk/>
            <pc:sldMk cId="2928948159" sldId="942"/>
            <ac:spMk id="4" creationId="{00178586-5407-7377-C87A-270E85687D7C}"/>
          </ac:spMkLst>
        </pc:spChg>
        <pc:spChg chg="add mod">
          <ac:chgData name="Barth Linard (bath)" userId="57bbb3dd-6189-4072-8fde-d29e5cbef504" providerId="ADAL" clId="{A8D30073-1886-4B8B-84A2-F8F1A0F8D1DD}" dt="2023-03-09T13:45:45.532" v="383" actId="113"/>
          <ac:spMkLst>
            <pc:docMk/>
            <pc:sldMk cId="2928948159" sldId="942"/>
            <ac:spMk id="6" creationId="{B82FD09D-1B9A-4B64-4506-54EE29C1D4F1}"/>
          </ac:spMkLst>
        </pc:spChg>
      </pc:sldChg>
      <pc:sldChg chg="del">
        <pc:chgData name="Barth Linard (bath)" userId="57bbb3dd-6189-4072-8fde-d29e5cbef504" providerId="ADAL" clId="{A8D30073-1886-4B8B-84A2-F8F1A0F8D1DD}" dt="2023-03-09T13:38:58.263" v="8" actId="47"/>
        <pc:sldMkLst>
          <pc:docMk/>
          <pc:sldMk cId="1819103805" sldId="943"/>
        </pc:sldMkLst>
      </pc:sldChg>
      <pc:sldChg chg="del">
        <pc:chgData name="Barth Linard (bath)" userId="57bbb3dd-6189-4072-8fde-d29e5cbef504" providerId="ADAL" clId="{A8D30073-1886-4B8B-84A2-F8F1A0F8D1DD}" dt="2023-03-09T13:38:56.718" v="6" actId="47"/>
        <pc:sldMkLst>
          <pc:docMk/>
          <pc:sldMk cId="4123164167" sldId="944"/>
        </pc:sldMkLst>
      </pc:sldChg>
      <pc:sldChg chg="del">
        <pc:chgData name="Barth Linard (bath)" userId="57bbb3dd-6189-4072-8fde-d29e5cbef504" providerId="ADAL" clId="{A8D30073-1886-4B8B-84A2-F8F1A0F8D1DD}" dt="2023-03-09T13:38:57.526" v="7" actId="47"/>
        <pc:sldMkLst>
          <pc:docMk/>
          <pc:sldMk cId="2118282807" sldId="945"/>
        </pc:sldMkLst>
      </pc:sldChg>
      <pc:sldChg chg="del">
        <pc:chgData name="Barth Linard (bath)" userId="57bbb3dd-6189-4072-8fde-d29e5cbef504" providerId="ADAL" clId="{A8D30073-1886-4B8B-84A2-F8F1A0F8D1DD}" dt="2023-03-09T13:38:55.965" v="5" actId="47"/>
        <pc:sldMkLst>
          <pc:docMk/>
          <pc:sldMk cId="3042196691" sldId="946"/>
        </pc:sldMkLst>
      </pc:sldChg>
      <pc:sldChg chg="del">
        <pc:chgData name="Barth Linard (bath)" userId="57bbb3dd-6189-4072-8fde-d29e5cbef504" providerId="ADAL" clId="{A8D30073-1886-4B8B-84A2-F8F1A0F8D1DD}" dt="2023-03-09T13:38:59.487" v="9" actId="47"/>
        <pc:sldMkLst>
          <pc:docMk/>
          <pc:sldMk cId="543849180" sldId="94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2017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48851D-549D-4785-8040-D1740898315D}" type="datetime1">
              <a:rPr lang="de-CH" smtClean="0"/>
              <a:pPr/>
              <a:t>09.03.2023</a:t>
            </a:fld>
            <a:endParaRPr lang="fr-FR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0D4A6-8139-42B7-BC6D-3591E8363667}" type="slidenum">
              <a:rPr lang="fr-FR" smtClean="0"/>
              <a:pPr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59516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4-23T14:51:40.058"/>
    </inkml:context>
    <inkml:brush xml:id="br0">
      <inkml:brushProperty name="width" value="0.1" units="cm"/>
      <inkml:brushProperty name="height" value="0.1" units="cm"/>
      <inkml:brushProperty name="color" value="#004F8B"/>
    </inkml:brush>
  </inkml:definitions>
  <inkml:trace contextRef="#ctx0" brushRef="#br0">0 0 511,'0'0'0,"0"0"0,0 0 0,0 0 0,0 0 0,0 0 0,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4-23T14:51:40.058"/>
    </inkml:context>
    <inkml:brush xml:id="br0">
      <inkml:brushProperty name="width" value="0.1" units="cm"/>
      <inkml:brushProperty name="height" value="0.1" units="cm"/>
      <inkml:brushProperty name="color" value="#004F8B"/>
    </inkml:brush>
  </inkml:definitions>
  <inkml:trace contextRef="#ctx0" brushRef="#br0">0 0 511,'0'0'0,"0"0"0,0 0 0,0 0 0,0 0 0,0 0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03A998-303B-4F86-9947-A49AF14B2D3A}" type="datetimeFigureOut">
              <a:rPr lang="fr-FR" smtClean="0"/>
              <a:pPr/>
              <a:t>09/03/2023</a:t>
            </a:fld>
            <a:endParaRPr lang="fr-FR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9274FF-26F8-4AE0-B748-E0D66FCDF779}" type="slidenum">
              <a:rPr lang="fr-FR" smtClean="0"/>
              <a:pPr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35439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986004" rtl="0" eaLnBrk="1" latinLnBrk="0" hangingPunct="1">
      <a:defRPr sz="5230" kern="1200">
        <a:solidFill>
          <a:schemeClr val="tx1"/>
        </a:solidFill>
        <a:latin typeface="+mn-lt"/>
        <a:ea typeface="+mn-ea"/>
        <a:cs typeface="+mn-cs"/>
      </a:defRPr>
    </a:lvl1pPr>
    <a:lvl2pPr marL="1993002" algn="l" defTabSz="3986004" rtl="0" eaLnBrk="1" latinLnBrk="0" hangingPunct="1">
      <a:defRPr sz="5230" kern="1200">
        <a:solidFill>
          <a:schemeClr val="tx1"/>
        </a:solidFill>
        <a:latin typeface="+mn-lt"/>
        <a:ea typeface="+mn-ea"/>
        <a:cs typeface="+mn-cs"/>
      </a:defRPr>
    </a:lvl2pPr>
    <a:lvl3pPr marL="3986004" algn="l" defTabSz="3986004" rtl="0" eaLnBrk="1" latinLnBrk="0" hangingPunct="1">
      <a:defRPr sz="5230" kern="1200">
        <a:solidFill>
          <a:schemeClr val="tx1"/>
        </a:solidFill>
        <a:latin typeface="+mn-lt"/>
        <a:ea typeface="+mn-ea"/>
        <a:cs typeface="+mn-cs"/>
      </a:defRPr>
    </a:lvl3pPr>
    <a:lvl4pPr marL="5979007" algn="l" defTabSz="3986004" rtl="0" eaLnBrk="1" latinLnBrk="0" hangingPunct="1">
      <a:defRPr sz="5230" kern="1200">
        <a:solidFill>
          <a:schemeClr val="tx1"/>
        </a:solidFill>
        <a:latin typeface="+mn-lt"/>
        <a:ea typeface="+mn-ea"/>
        <a:cs typeface="+mn-cs"/>
      </a:defRPr>
    </a:lvl4pPr>
    <a:lvl5pPr marL="7972013" algn="l" defTabSz="3986004" rtl="0" eaLnBrk="1" latinLnBrk="0" hangingPunct="1">
      <a:defRPr sz="5230" kern="1200">
        <a:solidFill>
          <a:schemeClr val="tx1"/>
        </a:solidFill>
        <a:latin typeface="+mn-lt"/>
        <a:ea typeface="+mn-ea"/>
        <a:cs typeface="+mn-cs"/>
      </a:defRPr>
    </a:lvl5pPr>
    <a:lvl6pPr marL="9965015" algn="l" defTabSz="3986004" rtl="0" eaLnBrk="1" latinLnBrk="0" hangingPunct="1">
      <a:defRPr sz="5230" kern="1200">
        <a:solidFill>
          <a:schemeClr val="tx1"/>
        </a:solidFill>
        <a:latin typeface="+mn-lt"/>
        <a:ea typeface="+mn-ea"/>
        <a:cs typeface="+mn-cs"/>
      </a:defRPr>
    </a:lvl6pPr>
    <a:lvl7pPr marL="11958017" algn="l" defTabSz="3986004" rtl="0" eaLnBrk="1" latinLnBrk="0" hangingPunct="1">
      <a:defRPr sz="5230" kern="1200">
        <a:solidFill>
          <a:schemeClr val="tx1"/>
        </a:solidFill>
        <a:latin typeface="+mn-lt"/>
        <a:ea typeface="+mn-ea"/>
        <a:cs typeface="+mn-cs"/>
      </a:defRPr>
    </a:lvl7pPr>
    <a:lvl8pPr marL="13951019" algn="l" defTabSz="3986004" rtl="0" eaLnBrk="1" latinLnBrk="0" hangingPunct="1">
      <a:defRPr sz="5230" kern="1200">
        <a:solidFill>
          <a:schemeClr val="tx1"/>
        </a:solidFill>
        <a:latin typeface="+mn-lt"/>
        <a:ea typeface="+mn-ea"/>
        <a:cs typeface="+mn-cs"/>
      </a:defRPr>
    </a:lvl8pPr>
    <a:lvl9pPr marL="15944022" algn="l" defTabSz="3986004" rtl="0" eaLnBrk="1" latinLnBrk="0" hangingPunct="1">
      <a:defRPr sz="523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316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llustration_blau Verlauf">
    <p:bg>
      <p:bgPr>
        <a:gradFill flip="none" rotWithShape="1">
          <a:gsLst>
            <a:gs pos="0">
              <a:srgbClr val="002B58"/>
            </a:gs>
            <a:gs pos="100000">
              <a:srgbClr val="0064A6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33217" y="10589789"/>
            <a:ext cx="35654978" cy="12397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llustration/Bild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3931113" y="27397202"/>
            <a:ext cx="35654982" cy="149507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775382" rtl="0" eaLnBrk="1" fontAlgn="auto" latinLnBrk="0" hangingPunct="1">
              <a:lnSpc>
                <a:spcPct val="100000"/>
              </a:lnSpc>
              <a:spcBef>
                <a:spcPts val="679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93" b="1" baseline="0">
                <a:solidFill>
                  <a:schemeClr val="bg1"/>
                </a:solidFill>
              </a:defRPr>
            </a:lvl1pPr>
            <a:lvl2pPr marL="154807" indent="0">
              <a:buFontTx/>
              <a:buNone/>
              <a:defRPr sz="1294"/>
            </a:lvl2pPr>
            <a:lvl3pPr marL="302884" indent="0">
              <a:buFontTx/>
              <a:buNone/>
              <a:defRPr sz="1294"/>
            </a:lvl3pPr>
            <a:lvl4pPr>
              <a:buFontTx/>
              <a:buNone/>
              <a:defRPr sz="1294"/>
            </a:lvl4pPr>
            <a:lvl5pPr>
              <a:buFontTx/>
              <a:buNone/>
              <a:defRPr sz="1294"/>
            </a:lvl5pPr>
          </a:lstStyle>
          <a:p>
            <a:r>
              <a:rPr lang="de-CH"/>
              <a:t>Titel Vorname Name (Arial </a:t>
            </a:r>
            <a:r>
              <a:rPr lang="de-CH" err="1"/>
              <a:t>bold</a:t>
            </a:r>
            <a:r>
              <a:rPr lang="de-CH"/>
              <a:t>, 14 </a:t>
            </a:r>
            <a:r>
              <a:rPr lang="de-CH" err="1"/>
              <a:t>pt</a:t>
            </a:r>
            <a:r>
              <a:rPr lang="de-CH"/>
              <a:t>, weiss)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3931113" y="28533367"/>
            <a:ext cx="35654982" cy="1293336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775382" rtl="0" eaLnBrk="1" fontAlgn="auto" latinLnBrk="0" hangingPunct="1">
              <a:lnSpc>
                <a:spcPct val="100000"/>
              </a:lnSpc>
              <a:spcBef>
                <a:spcPts val="679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93" baseline="0">
                <a:solidFill>
                  <a:schemeClr val="bg1"/>
                </a:solidFill>
              </a:defRPr>
            </a:lvl1pPr>
            <a:lvl2pPr marL="154807" indent="0">
              <a:buFontTx/>
              <a:buNone/>
              <a:defRPr sz="1294"/>
            </a:lvl2pPr>
            <a:lvl3pPr marL="302884" indent="0">
              <a:buFontTx/>
              <a:buNone/>
              <a:defRPr sz="1294"/>
            </a:lvl3pPr>
            <a:lvl4pPr>
              <a:buFontTx/>
              <a:buNone/>
              <a:defRPr sz="1294"/>
            </a:lvl4pPr>
            <a:lvl5pPr>
              <a:buFontTx/>
              <a:buNone/>
              <a:defRPr sz="1294"/>
            </a:lvl5pPr>
          </a:lstStyle>
          <a:p>
            <a:r>
              <a:rPr lang="de-CH"/>
              <a:t>vorname.name@zhaw.ch, TT Monat JJJJ (Arial, 10 </a:t>
            </a:r>
            <a:r>
              <a:rPr lang="de-CH" err="1"/>
              <a:t>pt</a:t>
            </a:r>
            <a:r>
              <a:rPr lang="de-CH"/>
              <a:t>, weiss) 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004617" y="4710340"/>
            <a:ext cx="37451803" cy="395926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sz="2787"/>
            </a:lvl1pPr>
          </a:lstStyle>
          <a:p>
            <a:r>
              <a:rPr lang="de-CH"/>
              <a:t>Titelmasterformat durch Klicken bearbeiten</a:t>
            </a:r>
          </a:p>
        </p:txBody>
      </p:sp>
      <p:pic>
        <p:nvPicPr>
          <p:cNvPr id="9" name="Grafik 1">
            <a:extLst>
              <a:ext uri="{FF2B5EF4-FFF2-40B4-BE49-F238E27FC236}">
                <a16:creationId xmlns:a16="http://schemas.microsoft.com/office/drawing/2014/main" id="{EE2A581E-E1E8-4418-B8FD-A303B8121641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242" y="724788"/>
            <a:ext cx="9236369" cy="3534931"/>
          </a:xfrm>
          <a:prstGeom prst="rect">
            <a:avLst/>
          </a:prstGeom>
        </p:spPr>
      </p:pic>
      <p:pic>
        <p:nvPicPr>
          <p:cNvPr id="12" name="Grafik 16">
            <a:extLst>
              <a:ext uri="{FF2B5EF4-FFF2-40B4-BE49-F238E27FC236}">
                <a16:creationId xmlns:a16="http://schemas.microsoft.com/office/drawing/2014/main" id="{D452378A-8976-40D8-A331-046593AECE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851644" y="13695708"/>
            <a:ext cx="21100483" cy="925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936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5D78439-BE38-4706-BADD-DC3DAA1D5EF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679461" y="17681678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E7759A-02D4-423F-9BC2-3BFF1C9D72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2076034" y="17681678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D07E2B17-5862-4082-96B7-9A899ACD714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709178" y="6486224"/>
            <a:ext cx="19355631" cy="910125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Bild durch Klicken auf Symbol hinzufügen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4869CF37-840D-4760-9C12-8A42147A71D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076040" y="6486224"/>
            <a:ext cx="19355631" cy="910125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Bild durch Klicken auf Symbol hinzufügen</a:t>
            </a:r>
          </a:p>
        </p:txBody>
      </p:sp>
      <p:sp>
        <p:nvSpPr>
          <p:cNvPr id="15" name="Foliennummernplatzhalter 6">
            <a:extLst>
              <a:ext uri="{FF2B5EF4-FFF2-40B4-BE49-F238E27FC236}">
                <a16:creationId xmlns:a16="http://schemas.microsoft.com/office/drawing/2014/main" id="{581552DF-2023-4FC1-A729-B25C9899D9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85087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57948" userDrawn="1">
          <p15:clr>
            <a:srgbClr val="FBAE40"/>
          </p15:clr>
        </p15:guide>
        <p15:guide id="4" pos="5529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Text mit Platzhalt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31918928" y="17377266"/>
            <a:ext cx="10119316" cy="98659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94"/>
            </a:lvl1pPr>
          </a:lstStyle>
          <a:p>
            <a:r>
              <a:rPr lang="de-CH"/>
              <a:t>Bild hier durch Klick </a:t>
            </a:r>
            <a:r>
              <a:rPr lang="de-CH" err="1"/>
              <a:t>einfücgen</a:t>
            </a:r>
            <a:endParaRPr lang="de-CH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31918928" y="6486214"/>
            <a:ext cx="10119316" cy="919672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94"/>
            </a:lvl1pPr>
          </a:lstStyle>
          <a:p>
            <a:r>
              <a:rPr lang="de-CH"/>
              <a:t>Bild hier durch Klick </a:t>
            </a:r>
            <a:r>
              <a:rPr lang="de-CH" err="1"/>
              <a:t>einfücgen</a:t>
            </a:r>
            <a:endParaRPr lang="de-CH"/>
          </a:p>
        </p:txBody>
      </p:sp>
      <p:sp>
        <p:nvSpPr>
          <p:cNvPr id="14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672082" y="6484824"/>
            <a:ext cx="40289403" cy="20758422"/>
          </a:xfrm>
          <a:prstGeom prst="rect">
            <a:avLst/>
          </a:prstGeom>
        </p:spPr>
        <p:txBody>
          <a:bodyPr/>
          <a:lstStyle>
            <a:lvl1pPr marL="276525" indent="-276525">
              <a:lnSpc>
                <a:spcPct val="120000"/>
              </a:lnSpc>
              <a:spcBef>
                <a:spcPts val="0"/>
              </a:spcBef>
              <a:defRPr sz="1593"/>
            </a:lvl1pPr>
            <a:lvl2pPr marL="560021" indent="-281865">
              <a:lnSpc>
                <a:spcPct val="120000"/>
              </a:lnSpc>
              <a:spcBef>
                <a:spcPts val="0"/>
              </a:spcBef>
              <a:defRPr sz="1393"/>
            </a:lvl2pPr>
            <a:lvl3pPr marL="836941" indent="-276920">
              <a:lnSpc>
                <a:spcPct val="120000"/>
              </a:lnSpc>
              <a:spcBef>
                <a:spcPts val="0"/>
              </a:spcBef>
              <a:defRPr sz="1393"/>
            </a:lvl3pPr>
            <a:lvl4pPr marL="1116332" indent="-279392">
              <a:lnSpc>
                <a:spcPct val="120000"/>
              </a:lnSpc>
              <a:spcBef>
                <a:spcPts val="0"/>
              </a:spcBef>
              <a:buFont typeface="Symbol" pitchFamily="18" charset="2"/>
              <a:buChar char="-"/>
              <a:defRPr sz="1393"/>
            </a:lvl4pPr>
            <a:lvl5pPr marL="1392015" indent="-275685">
              <a:lnSpc>
                <a:spcPct val="120000"/>
              </a:lnSpc>
              <a:spcBef>
                <a:spcPts val="0"/>
              </a:spcBef>
              <a:buFont typeface="Symbol" pitchFamily="18" charset="2"/>
              <a:buChar char="-"/>
              <a:defRPr sz="1393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24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5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F37C9E74-A57B-4947-92B9-A87250BE62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810214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1704105-1A9E-482D-B0D2-C55FC578EF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49207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2">
            <a:extLst>
              <a:ext uri="{FF2B5EF4-FFF2-40B4-BE49-F238E27FC236}">
                <a16:creationId xmlns:a16="http://schemas.microsoft.com/office/drawing/2014/main" id="{4A893E88-2E06-4BD1-8A99-E6CED8937C40}"/>
              </a:ext>
            </a:extLst>
          </p:cNvPr>
          <p:cNvSpPr>
            <a:spLocks noChangeArrowheads="1"/>
          </p:cNvSpPr>
          <p:nvPr userDrawn="1"/>
        </p:nvSpPr>
        <p:spPr bwMode="hidden">
          <a:xfrm>
            <a:off x="0" y="-31986"/>
            <a:ext cx="42803763" cy="30275213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de-CH" sz="2034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15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28727960" y="29013332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chemeClr val="bg1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  <p:sp>
        <p:nvSpPr>
          <p:cNvPr id="16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bg1"/>
                </a:solidFill>
              </a:defRPr>
            </a:lvl1pPr>
          </a:lstStyle>
          <a:p>
            <a:r>
              <a:rPr lang="de-CH"/>
              <a:t>Freies Feld für Dokumentbezeichnung</a:t>
            </a:r>
          </a:p>
        </p:txBody>
      </p:sp>
      <p:sp>
        <p:nvSpPr>
          <p:cNvPr id="17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9BF654-5D24-4C6B-87B9-C62BD9FC614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16613" y="12321958"/>
            <a:ext cx="40246841" cy="12397526"/>
          </a:xfrm>
        </p:spPr>
        <p:txBody>
          <a:bodyPr/>
          <a:lstStyle>
            <a:lvl1pPr>
              <a:defRPr sz="1990">
                <a:solidFill>
                  <a:schemeClr val="bg1"/>
                </a:solidFill>
              </a:defRPr>
            </a:lvl1pPr>
            <a:lvl2pPr>
              <a:defRPr sz="1792">
                <a:solidFill>
                  <a:schemeClr val="bg1"/>
                </a:solidFill>
              </a:defRPr>
            </a:lvl2pPr>
            <a:lvl3pPr>
              <a:defRPr sz="1792">
                <a:solidFill>
                  <a:schemeClr val="bg1"/>
                </a:solidFill>
              </a:defRPr>
            </a:lvl3pPr>
            <a:lvl4pPr>
              <a:defRPr sz="1792">
                <a:solidFill>
                  <a:schemeClr val="bg1"/>
                </a:solidFill>
              </a:defRPr>
            </a:lvl4pPr>
            <a:lvl5pPr>
              <a:defRPr sz="1792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CE281D38-FA4F-4C5F-AF5F-D01CA2DA8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6616" y="5911338"/>
            <a:ext cx="40246841" cy="419881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78F0FC-7941-4532-AB04-4E3217BE90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67738" y="28267290"/>
            <a:ext cx="5761771" cy="1130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9580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Illustration">
    <p:bg>
      <p:bgPr>
        <a:gradFill flip="none" rotWithShape="1">
          <a:gsLst>
            <a:gs pos="0">
              <a:srgbClr val="002B58"/>
            </a:gs>
            <a:gs pos="100000">
              <a:srgbClr val="0064A6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948" y="6554705"/>
            <a:ext cx="36152437" cy="1589310"/>
          </a:xfrm>
          <a:ln>
            <a:noFill/>
          </a:ln>
        </p:spPr>
        <p:txBody>
          <a:bodyPr/>
          <a:lstStyle>
            <a:lvl1pPr marL="0" indent="0" algn="l">
              <a:buNone/>
              <a:defRPr sz="3182" b="1" baseline="0">
                <a:solidFill>
                  <a:srgbClr val="6FBAED"/>
                </a:solidFill>
              </a:defRPr>
            </a:lvl1pPr>
            <a:lvl2pPr marL="501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3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04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065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08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09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11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13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1. Titel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5541358" y="27853023"/>
            <a:ext cx="36425541" cy="953655"/>
          </a:xfrm>
          <a:ln>
            <a:noFill/>
          </a:ln>
        </p:spPr>
        <p:txBody>
          <a:bodyPr/>
          <a:lstStyle>
            <a:lvl1pPr marL="0" marR="0" indent="0" algn="l" defTabSz="1003280" rtl="0" eaLnBrk="1" fontAlgn="auto" latinLnBrk="0" hangingPunct="1">
              <a:lnSpc>
                <a:spcPct val="100000"/>
              </a:lnSpc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36" b="1">
                <a:solidFill>
                  <a:schemeClr val="bg1"/>
                </a:solidFill>
              </a:defRPr>
            </a:lvl1pPr>
            <a:lvl2pPr marL="200308" indent="0">
              <a:buFontTx/>
              <a:buNone/>
              <a:defRPr sz="1756"/>
            </a:lvl2pPr>
            <a:lvl3pPr marL="391906" indent="0">
              <a:buFontTx/>
              <a:buNone/>
              <a:defRPr sz="1756"/>
            </a:lvl3pPr>
            <a:lvl4pPr>
              <a:buFontTx/>
              <a:buNone/>
              <a:defRPr sz="1756"/>
            </a:lvl4pPr>
            <a:lvl5pPr>
              <a:buFontTx/>
              <a:buNone/>
              <a:defRPr sz="1756"/>
            </a:lvl5pPr>
          </a:lstStyle>
          <a:p>
            <a:r>
              <a:rPr lang="de-CH"/>
              <a:t>Titel Vorname Nam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065E93"/>
              </a:clrFrom>
              <a:clrTo>
                <a:srgbClr val="065E9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007" y="239663"/>
            <a:ext cx="14116549" cy="6038893"/>
          </a:xfrm>
          <a:prstGeom prst="rect">
            <a:avLst/>
          </a:prstGeom>
        </p:spPr>
      </p:pic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3948" y="8462020"/>
            <a:ext cx="36152437" cy="25430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3182" b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lvl="0"/>
            <a:r>
              <a:rPr lang="de-DE"/>
              <a:t>2. Titelebene</a:t>
            </a:r>
          </a:p>
          <a:p>
            <a:pPr lvl="0"/>
            <a:endParaRPr lang="de-DE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58550" y="11640870"/>
            <a:ext cx="36067831" cy="1239752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llustratio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543039" y="28932832"/>
            <a:ext cx="36541001" cy="1293336"/>
          </a:xfrm>
          <a:ln>
            <a:noFill/>
          </a:ln>
        </p:spPr>
        <p:txBody>
          <a:bodyPr/>
          <a:lstStyle>
            <a:lvl1pPr marL="0" marR="0" indent="0" algn="l" defTabSz="1003280" rtl="0" eaLnBrk="1" fontAlgn="auto" latinLnBrk="0" hangingPunct="1">
              <a:lnSpc>
                <a:spcPct val="100000"/>
              </a:lnSpc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36" baseline="0">
                <a:solidFill>
                  <a:schemeClr val="bg1"/>
                </a:solidFill>
              </a:defRPr>
            </a:lvl1pPr>
            <a:lvl2pPr marL="200308" indent="0">
              <a:buFontTx/>
              <a:buNone/>
              <a:defRPr sz="1756"/>
            </a:lvl2pPr>
            <a:lvl3pPr marL="391906" indent="0">
              <a:buFontTx/>
              <a:buNone/>
              <a:defRPr sz="1756"/>
            </a:lvl3pPr>
            <a:lvl4pPr>
              <a:buFontTx/>
              <a:buNone/>
              <a:defRPr sz="1756"/>
            </a:lvl4pPr>
            <a:lvl5pPr>
              <a:buFontTx/>
              <a:buNone/>
              <a:defRPr sz="1756"/>
            </a:lvl5pPr>
          </a:lstStyle>
          <a:p>
            <a:r>
              <a:rPr lang="de-CH"/>
              <a:t>vorname.name@zhaw.ch, TT Monat JJJJ </a:t>
            </a:r>
          </a:p>
        </p:txBody>
      </p:sp>
      <p:pic>
        <p:nvPicPr>
          <p:cNvPr id="12" name="Bildplatzhalter 6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151311"/>
              </a:clrFrom>
              <a:clrTo>
                <a:srgbClr val="15131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53" b="219"/>
          <a:stretch/>
        </p:blipFill>
        <p:spPr>
          <a:xfrm>
            <a:off x="11445207" y="12912417"/>
            <a:ext cx="24269397" cy="1073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2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2"/>
          <p:cNvSpPr>
            <a:spLocks noChangeArrowheads="1"/>
          </p:cNvSpPr>
          <p:nvPr userDrawn="1"/>
        </p:nvSpPr>
        <p:spPr bwMode="hidden">
          <a:xfrm>
            <a:off x="731755" y="720341"/>
            <a:ext cx="41360318" cy="4008571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de-DE" sz="2195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Datumsplatzhalter 1"/>
          <p:cNvSpPr>
            <a:spLocks noGrp="1"/>
          </p:cNvSpPr>
          <p:nvPr>
            <p:ph type="dt" sz="half" idx="2"/>
          </p:nvPr>
        </p:nvSpPr>
        <p:spPr>
          <a:xfrm>
            <a:off x="1577889" y="29287625"/>
            <a:ext cx="6052265" cy="13221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59" smtClean="0">
                <a:solidFill>
                  <a:srgbClr val="012C59"/>
                </a:solidFill>
              </a:defRPr>
            </a:lvl1pPr>
          </a:lstStyle>
          <a:p>
            <a:r>
              <a:rPr lang="de-CH"/>
              <a:t>September 2017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9932063" y="29287625"/>
            <a:ext cx="13560458" cy="13221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Eröffnungsvormittag CAS ICS</a:t>
            </a:r>
          </a:p>
        </p:txBody>
      </p:sp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51" y="1137358"/>
            <a:ext cx="39740905" cy="3203594"/>
          </a:xfrm>
          <a:prstGeom prst="rect">
            <a:avLst/>
          </a:prstGeom>
        </p:spPr>
        <p:txBody>
          <a:bodyPr lIns="90211" tIns="45107" rIns="90211" bIns="45107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578" b="0" spc="3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1524647" y="1041681"/>
            <a:ext cx="39740905" cy="336588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78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512375" y="27611811"/>
            <a:ext cx="30545307" cy="144078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859" dirty="0" smtClean="0">
                <a:solidFill>
                  <a:srgbClr val="012C59"/>
                </a:solidFill>
                <a:latin typeface="+mn-lt"/>
                <a:cs typeface="+mn-cs"/>
              </a:defRPr>
            </a:lvl1pPr>
            <a:lvl2pPr>
              <a:defRPr lang="de-DE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de-DE" sz="193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de-DE" sz="1934" dirty="0" smtClean="0"/>
            </a:lvl4pPr>
            <a:lvl5pPr>
              <a:defRPr lang="de-CH" sz="1934" dirty="0"/>
            </a:lvl5pPr>
          </a:lstStyle>
          <a:p>
            <a:pPr marL="0" lvl="0"/>
            <a:r>
              <a:rPr lang="de-CH"/>
              <a:t>Quellenhinweis</a:t>
            </a:r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EC6B74C0-1C6F-4650-847E-2BA748E08D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3989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halt mit 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44985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0" name="Inhaltsplatzhalter 3"/>
          <p:cNvSpPr>
            <a:spLocks noGrp="1"/>
          </p:cNvSpPr>
          <p:nvPr>
            <p:ph sz="half" idx="13"/>
          </p:nvPr>
        </p:nvSpPr>
        <p:spPr>
          <a:xfrm>
            <a:off x="735702" y="6896035"/>
            <a:ext cx="41206056" cy="20639011"/>
          </a:xfrm>
        </p:spPr>
        <p:txBody>
          <a:bodyPr/>
          <a:lstStyle>
            <a:lvl1pPr marL="386681" indent="-386681">
              <a:buFont typeface="+mj-lt"/>
              <a:buAutoNum type="arabicPeriod"/>
              <a:defRPr sz="2194"/>
            </a:lvl1pPr>
            <a:lvl2pPr marL="789038" indent="-402358">
              <a:buFont typeface="+mj-lt"/>
              <a:buAutoNum type="arabicPeriod"/>
              <a:defRPr sz="1975"/>
            </a:lvl2pPr>
            <a:lvl3pPr marL="789038" indent="386681">
              <a:buFont typeface="+mj-lt"/>
              <a:buAutoNum type="arabicPeriod"/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31D6A84C-C3ED-44C0-9FE7-4D63638A0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457530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95158" y="6767483"/>
            <a:ext cx="41168894" cy="1412143"/>
          </a:xfrm>
        </p:spPr>
        <p:txBody>
          <a:bodyPr anchor="b"/>
          <a:lstStyle>
            <a:lvl1pPr marL="0" indent="0">
              <a:buNone/>
              <a:defRPr sz="2194" b="1" cap="none" baseline="0">
                <a:solidFill>
                  <a:srgbClr val="002C59"/>
                </a:solidFill>
              </a:defRPr>
            </a:lvl1pPr>
            <a:lvl2pPr marL="501640" indent="0">
              <a:buNone/>
              <a:defRPr sz="2194" b="1"/>
            </a:lvl2pPr>
            <a:lvl3pPr marL="1003280" indent="0">
              <a:buNone/>
              <a:defRPr sz="1975" b="1"/>
            </a:lvl3pPr>
            <a:lvl4pPr marL="1504920" indent="0">
              <a:buNone/>
              <a:defRPr sz="1756" b="1"/>
            </a:lvl4pPr>
            <a:lvl5pPr marL="2006559" indent="0">
              <a:buNone/>
              <a:defRPr sz="1756" b="1"/>
            </a:lvl5pPr>
            <a:lvl6pPr marL="2508199" indent="0">
              <a:buNone/>
              <a:defRPr sz="1756" b="1"/>
            </a:lvl6pPr>
            <a:lvl7pPr marL="3009839" indent="0">
              <a:buNone/>
              <a:defRPr sz="1756" b="1"/>
            </a:lvl7pPr>
            <a:lvl8pPr marL="3511479" indent="0">
              <a:buNone/>
              <a:defRPr sz="1756" b="1"/>
            </a:lvl8pPr>
            <a:lvl9pPr marL="4013119" indent="0">
              <a:buNone/>
              <a:defRPr sz="1756" b="1"/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24548" y="8809249"/>
            <a:ext cx="41239496" cy="18704757"/>
          </a:xfrm>
        </p:spPr>
        <p:txBody>
          <a:bodyPr/>
          <a:lstStyle>
            <a:lvl1pPr marL="203792" indent="-203792">
              <a:buFont typeface="Symbol" pitchFamily="18" charset="2"/>
              <a:buChar char="-"/>
              <a:defRPr sz="2194"/>
            </a:lvl1pPr>
            <a:lvl2pPr marL="391907" indent="-191599">
              <a:buFont typeface="Symbol" pitchFamily="18" charset="2"/>
              <a:buChar char="-"/>
              <a:defRPr sz="1975"/>
            </a:lvl2pPr>
            <a:lvl3pPr marL="595697" indent="-205533">
              <a:buFont typeface="Symbol" pitchFamily="18" charset="2"/>
              <a:buChar char="-"/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07100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Foliennummernplatzhalter 6">
            <a:extLst>
              <a:ext uri="{FF2B5EF4-FFF2-40B4-BE49-F238E27FC236}">
                <a16:creationId xmlns:a16="http://schemas.microsoft.com/office/drawing/2014/main" id="{C0DF61F9-5685-4DCF-85B9-3F6E7E0605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315383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07100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13"/>
          </p:nvPr>
        </p:nvSpPr>
        <p:spPr>
          <a:xfrm>
            <a:off x="735696" y="6896035"/>
            <a:ext cx="18980813" cy="20639011"/>
          </a:xfrm>
        </p:spPr>
        <p:txBody>
          <a:bodyPr/>
          <a:lstStyle>
            <a:lvl1pPr>
              <a:defRPr sz="2194"/>
            </a:lvl1pPr>
            <a:lvl2pPr>
              <a:defRPr sz="1975"/>
            </a:lvl2pPr>
            <a:lvl3pPr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22984735" y="6896035"/>
            <a:ext cx="18971876" cy="20639011"/>
          </a:xfrm>
        </p:spPr>
        <p:txBody>
          <a:bodyPr/>
          <a:lstStyle>
            <a:lvl1pPr>
              <a:defRPr sz="2194"/>
            </a:lvl1pPr>
            <a:lvl2pPr>
              <a:defRPr sz="1975"/>
            </a:lvl2pPr>
            <a:lvl3pPr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Foliennummernplatzhalter 6">
            <a:extLst>
              <a:ext uri="{FF2B5EF4-FFF2-40B4-BE49-F238E27FC236}">
                <a16:creationId xmlns:a16="http://schemas.microsoft.com/office/drawing/2014/main" id="{B1B135A9-143F-47A9-A16F-446CB7DC2F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421518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95158" y="6767475"/>
            <a:ext cx="18919853" cy="1412143"/>
          </a:xfrm>
        </p:spPr>
        <p:txBody>
          <a:bodyPr anchor="b"/>
          <a:lstStyle>
            <a:lvl1pPr marL="0" indent="0">
              <a:buNone/>
              <a:defRPr sz="2194" b="1" cap="none" baseline="0">
                <a:solidFill>
                  <a:srgbClr val="002C59"/>
                </a:solidFill>
              </a:defRPr>
            </a:lvl1pPr>
            <a:lvl2pPr marL="501640" indent="0">
              <a:buNone/>
              <a:defRPr sz="2194" b="1"/>
            </a:lvl2pPr>
            <a:lvl3pPr marL="1003280" indent="0">
              <a:buNone/>
              <a:defRPr sz="1975" b="1"/>
            </a:lvl3pPr>
            <a:lvl4pPr marL="1504920" indent="0">
              <a:buNone/>
              <a:defRPr sz="1756" b="1"/>
            </a:lvl4pPr>
            <a:lvl5pPr marL="2006559" indent="0">
              <a:buNone/>
              <a:defRPr sz="1756" b="1"/>
            </a:lvl5pPr>
            <a:lvl6pPr marL="2508199" indent="0">
              <a:buNone/>
              <a:defRPr sz="1756" b="1"/>
            </a:lvl6pPr>
            <a:lvl7pPr marL="3009839" indent="0">
              <a:buNone/>
              <a:defRPr sz="1756" b="1"/>
            </a:lvl7pPr>
            <a:lvl8pPr marL="3511479" indent="0">
              <a:buNone/>
              <a:defRPr sz="1756" b="1"/>
            </a:lvl8pPr>
            <a:lvl9pPr marL="4013119" indent="0">
              <a:buNone/>
              <a:defRPr sz="1756" b="1"/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23034781" y="6787399"/>
            <a:ext cx="18929261" cy="1398126"/>
          </a:xfrm>
        </p:spPr>
        <p:txBody>
          <a:bodyPr anchor="b"/>
          <a:lstStyle>
            <a:lvl1pPr marL="0" indent="0">
              <a:buNone/>
              <a:defRPr sz="2194" b="1" cap="none" baseline="0">
                <a:solidFill>
                  <a:srgbClr val="002C59"/>
                </a:solidFill>
              </a:defRPr>
            </a:lvl1pPr>
            <a:lvl2pPr marL="501640" indent="0">
              <a:buNone/>
              <a:defRPr sz="2194" b="1"/>
            </a:lvl2pPr>
            <a:lvl3pPr marL="1003280" indent="0">
              <a:buNone/>
              <a:defRPr sz="1975" b="1"/>
            </a:lvl3pPr>
            <a:lvl4pPr marL="1504920" indent="0">
              <a:buNone/>
              <a:defRPr sz="1756" b="1"/>
            </a:lvl4pPr>
            <a:lvl5pPr marL="2006559" indent="0">
              <a:buNone/>
              <a:defRPr sz="1756" b="1"/>
            </a:lvl5pPr>
            <a:lvl6pPr marL="2508199" indent="0">
              <a:buNone/>
              <a:defRPr sz="1756" b="1"/>
            </a:lvl6pPr>
            <a:lvl7pPr marL="3009839" indent="0">
              <a:buNone/>
              <a:defRPr sz="1756" b="1"/>
            </a:lvl7pPr>
            <a:lvl8pPr marL="3511479" indent="0">
              <a:buNone/>
              <a:defRPr sz="1756" b="1"/>
            </a:lvl8pPr>
            <a:lvl9pPr marL="4013119" indent="0">
              <a:buNone/>
              <a:defRPr sz="1756" b="1"/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07100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13"/>
          </p:nvPr>
        </p:nvSpPr>
        <p:spPr>
          <a:xfrm>
            <a:off x="735696" y="8788241"/>
            <a:ext cx="18980813" cy="18746805"/>
          </a:xfrm>
        </p:spPr>
        <p:txBody>
          <a:bodyPr/>
          <a:lstStyle>
            <a:lvl1pPr>
              <a:defRPr sz="2194"/>
            </a:lvl1pPr>
            <a:lvl2pPr>
              <a:defRPr sz="1975"/>
            </a:lvl2pPr>
            <a:lvl3pPr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1" name="Inhaltsplatzhalter 3"/>
          <p:cNvSpPr>
            <a:spLocks noGrp="1"/>
          </p:cNvSpPr>
          <p:nvPr>
            <p:ph sz="half" idx="16"/>
          </p:nvPr>
        </p:nvSpPr>
        <p:spPr>
          <a:xfrm>
            <a:off x="22984735" y="8788241"/>
            <a:ext cx="18971876" cy="18746805"/>
          </a:xfrm>
        </p:spPr>
        <p:txBody>
          <a:bodyPr/>
          <a:lstStyle>
            <a:lvl1pPr>
              <a:defRPr sz="2194"/>
            </a:lvl1pPr>
            <a:lvl2pPr>
              <a:defRPr sz="1975"/>
            </a:lvl2pPr>
            <a:lvl3pPr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Foliennummernplatzhalter 6">
            <a:extLst>
              <a:ext uri="{FF2B5EF4-FFF2-40B4-BE49-F238E27FC236}">
                <a16:creationId xmlns:a16="http://schemas.microsoft.com/office/drawing/2014/main" id="{1E56C8D6-848B-4E09-9022-FC63F1440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25738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llustration inver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3901386" y="27397202"/>
            <a:ext cx="35654982" cy="143803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775382" rtl="0" eaLnBrk="1" fontAlgn="auto" latinLnBrk="0" hangingPunct="1">
              <a:lnSpc>
                <a:spcPct val="100000"/>
              </a:lnSpc>
              <a:spcBef>
                <a:spcPts val="679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93" b="1" baseline="0">
                <a:solidFill>
                  <a:srgbClr val="0064A6"/>
                </a:solidFill>
              </a:defRPr>
            </a:lvl1pPr>
            <a:lvl2pPr marL="154807" indent="0">
              <a:buFontTx/>
              <a:buNone/>
              <a:defRPr sz="1294"/>
            </a:lvl2pPr>
            <a:lvl3pPr marL="302884" indent="0">
              <a:buFontTx/>
              <a:buNone/>
              <a:defRPr sz="1294"/>
            </a:lvl3pPr>
            <a:lvl4pPr>
              <a:buFontTx/>
              <a:buNone/>
              <a:defRPr sz="1294"/>
            </a:lvl4pPr>
            <a:lvl5pPr>
              <a:buFontTx/>
              <a:buNone/>
              <a:defRPr sz="1294"/>
            </a:lvl5pPr>
          </a:lstStyle>
          <a:p>
            <a:r>
              <a:rPr lang="de-CH"/>
              <a:t>Titel Vorname Name (Arial </a:t>
            </a:r>
            <a:r>
              <a:rPr lang="de-CH" err="1"/>
              <a:t>bold</a:t>
            </a:r>
            <a:r>
              <a:rPr lang="de-CH"/>
              <a:t>, 14 </a:t>
            </a:r>
            <a:r>
              <a:rPr lang="de-CH" err="1"/>
              <a:t>pt</a:t>
            </a:r>
            <a:r>
              <a:rPr lang="de-CH"/>
              <a:t>, weiss)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333217" y="10589789"/>
            <a:ext cx="35654978" cy="12397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0064A6"/>
                </a:solidFill>
              </a:defRPr>
            </a:lvl1pPr>
          </a:lstStyle>
          <a:p>
            <a:r>
              <a:rPr lang="de-CH"/>
              <a:t>Illustration/Bild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3901386" y="28533367"/>
            <a:ext cx="35654982" cy="1293336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775382" rtl="0" eaLnBrk="1" fontAlgn="auto" latinLnBrk="0" hangingPunct="1">
              <a:lnSpc>
                <a:spcPct val="100000"/>
              </a:lnSpc>
              <a:spcBef>
                <a:spcPts val="679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93" baseline="0">
                <a:solidFill>
                  <a:srgbClr val="0064A6"/>
                </a:solidFill>
              </a:defRPr>
            </a:lvl1pPr>
            <a:lvl2pPr marL="154807" indent="0">
              <a:buFontTx/>
              <a:buNone/>
              <a:defRPr sz="1294"/>
            </a:lvl2pPr>
            <a:lvl3pPr marL="302884" indent="0">
              <a:buFontTx/>
              <a:buNone/>
              <a:defRPr sz="1294"/>
            </a:lvl3pPr>
            <a:lvl4pPr>
              <a:buFontTx/>
              <a:buNone/>
              <a:defRPr sz="1294"/>
            </a:lvl4pPr>
            <a:lvl5pPr>
              <a:buFontTx/>
              <a:buNone/>
              <a:defRPr sz="1294"/>
            </a:lvl5pPr>
          </a:lstStyle>
          <a:p>
            <a:r>
              <a:rPr lang="de-CH"/>
              <a:t>vorname.name@zhaw.ch, TT Monat JJJJ (Arial, 14 </a:t>
            </a:r>
            <a:r>
              <a:rPr lang="de-CH" err="1"/>
              <a:t>pt</a:t>
            </a:r>
            <a:r>
              <a:rPr lang="de-CH"/>
              <a:t>, weiss) </a:t>
            </a: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004617" y="4710340"/>
            <a:ext cx="37451803" cy="395926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sz="2787">
                <a:solidFill>
                  <a:srgbClr val="0064A6"/>
                </a:solidFill>
              </a:defRPr>
            </a:lvl1pPr>
          </a:lstStyle>
          <a:p>
            <a:r>
              <a:rPr lang="de-CH"/>
              <a:t>Titelmasterformat durch Klicken bearbeiten</a:t>
            </a:r>
          </a:p>
        </p:txBody>
      </p:sp>
      <p:pic>
        <p:nvPicPr>
          <p:cNvPr id="13" name="Grafik 1">
            <a:extLst>
              <a:ext uri="{FF2B5EF4-FFF2-40B4-BE49-F238E27FC236}">
                <a16:creationId xmlns:a16="http://schemas.microsoft.com/office/drawing/2014/main" id="{A9C75865-2C5C-4079-BEDE-785202B93A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74" y="724782"/>
            <a:ext cx="9233146" cy="3529278"/>
          </a:xfrm>
          <a:prstGeom prst="rect">
            <a:avLst/>
          </a:prstGeom>
        </p:spPr>
      </p:pic>
      <p:pic>
        <p:nvPicPr>
          <p:cNvPr id="14" name="Grafik 12">
            <a:extLst>
              <a:ext uri="{FF2B5EF4-FFF2-40B4-BE49-F238E27FC236}">
                <a16:creationId xmlns:a16="http://schemas.microsoft.com/office/drawing/2014/main" id="{DE8F5290-1529-4031-B05D-86F189F779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777792" y="13695706"/>
            <a:ext cx="21619600" cy="930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0817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735698" y="6896019"/>
            <a:ext cx="41228344" cy="20596958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fr-FR"/>
          </a:p>
        </p:txBody>
      </p:sp>
      <p:sp>
        <p:nvSpPr>
          <p:cNvPr id="13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07100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106D2CE-7687-4270-86B5-08EDF0C7E0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8827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07100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Foliennummernplatzhalter 6">
            <a:extLst>
              <a:ext uri="{FF2B5EF4-FFF2-40B4-BE49-F238E27FC236}">
                <a16:creationId xmlns:a16="http://schemas.microsoft.com/office/drawing/2014/main" id="{7CF9D4EF-28C4-4CD5-8A7C-9D21122C6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522428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2"/>
          <p:cNvSpPr>
            <a:spLocks noChangeArrowheads="1"/>
          </p:cNvSpPr>
          <p:nvPr userDrawn="1"/>
        </p:nvSpPr>
        <p:spPr bwMode="hidden">
          <a:xfrm>
            <a:off x="731755" y="720341"/>
            <a:ext cx="41360318" cy="4008571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de-DE" sz="2195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Datumsplatzhalter 1"/>
          <p:cNvSpPr>
            <a:spLocks noGrp="1"/>
          </p:cNvSpPr>
          <p:nvPr>
            <p:ph type="dt" sz="half" idx="2"/>
          </p:nvPr>
        </p:nvSpPr>
        <p:spPr>
          <a:xfrm>
            <a:off x="1577889" y="29287625"/>
            <a:ext cx="6052265" cy="13221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59" smtClean="0">
                <a:solidFill>
                  <a:srgbClr val="012C59"/>
                </a:solidFill>
              </a:defRPr>
            </a:lvl1pPr>
          </a:lstStyle>
          <a:p>
            <a:r>
              <a:rPr lang="de-CH"/>
              <a:t>September 2017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9932063" y="29287625"/>
            <a:ext cx="13560458" cy="13221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Eröffnungsvormittag CAS ICS</a:t>
            </a:r>
          </a:p>
        </p:txBody>
      </p:sp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51" y="1137358"/>
            <a:ext cx="39740905" cy="3203594"/>
          </a:xfrm>
          <a:prstGeom prst="rect">
            <a:avLst/>
          </a:prstGeom>
        </p:spPr>
        <p:txBody>
          <a:bodyPr lIns="90211" tIns="45107" rIns="90211" bIns="45107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578" b="0" spc="3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1524647" y="1041681"/>
            <a:ext cx="39740905" cy="336588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78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512375" y="27611811"/>
            <a:ext cx="30545307" cy="144078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859" dirty="0" smtClean="0">
                <a:solidFill>
                  <a:srgbClr val="012C59"/>
                </a:solidFill>
                <a:latin typeface="+mn-lt"/>
                <a:cs typeface="+mn-cs"/>
              </a:defRPr>
            </a:lvl1pPr>
            <a:lvl2pPr>
              <a:defRPr lang="de-DE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de-DE" sz="193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de-DE" sz="1934" dirty="0" smtClean="0"/>
            </a:lvl4pPr>
            <a:lvl5pPr>
              <a:defRPr lang="de-CH" sz="1934" dirty="0"/>
            </a:lvl5pPr>
          </a:lstStyle>
          <a:p>
            <a:pPr marL="0" lvl="0"/>
            <a:r>
              <a:rPr lang="de-CH"/>
              <a:t>Quellenhinweis</a:t>
            </a:r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2B0D51C7-AC56-4002-B6FF-A889FC3835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65870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2"/>
          <p:cNvSpPr>
            <a:spLocks noChangeArrowheads="1"/>
          </p:cNvSpPr>
          <p:nvPr userDrawn="1"/>
        </p:nvSpPr>
        <p:spPr bwMode="hidden">
          <a:xfrm>
            <a:off x="731755" y="720341"/>
            <a:ext cx="41360318" cy="4008571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de-DE" sz="2195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Datumsplatzhalter 1"/>
          <p:cNvSpPr>
            <a:spLocks noGrp="1"/>
          </p:cNvSpPr>
          <p:nvPr>
            <p:ph type="dt" sz="half" idx="2"/>
          </p:nvPr>
        </p:nvSpPr>
        <p:spPr>
          <a:xfrm>
            <a:off x="1577889" y="29287625"/>
            <a:ext cx="6052265" cy="13221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59" smtClean="0">
                <a:solidFill>
                  <a:srgbClr val="012C59"/>
                </a:solidFill>
              </a:defRPr>
            </a:lvl1pPr>
          </a:lstStyle>
          <a:p>
            <a:r>
              <a:rPr lang="de-CH"/>
              <a:t>September 2017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9932063" y="29287625"/>
            <a:ext cx="13560458" cy="13221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Eröffnungsvormittag CAS ICS</a:t>
            </a:r>
          </a:p>
        </p:txBody>
      </p:sp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51" y="1137358"/>
            <a:ext cx="39740905" cy="3203594"/>
          </a:xfrm>
          <a:prstGeom prst="rect">
            <a:avLst/>
          </a:prstGeom>
        </p:spPr>
        <p:txBody>
          <a:bodyPr lIns="90211" tIns="45107" rIns="90211" bIns="45107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578" b="0" spc="3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1524647" y="1041681"/>
            <a:ext cx="39740905" cy="336588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78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512375" y="27611811"/>
            <a:ext cx="30545307" cy="144078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859" dirty="0" smtClean="0">
                <a:solidFill>
                  <a:srgbClr val="012C59"/>
                </a:solidFill>
                <a:latin typeface="+mn-lt"/>
                <a:cs typeface="+mn-cs"/>
              </a:defRPr>
            </a:lvl1pPr>
            <a:lvl2pPr>
              <a:defRPr lang="de-DE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de-DE" sz="193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de-DE" sz="1934" dirty="0" smtClean="0"/>
            </a:lvl4pPr>
            <a:lvl5pPr>
              <a:defRPr lang="de-CH" sz="1934" dirty="0"/>
            </a:lvl5pPr>
          </a:lstStyle>
          <a:p>
            <a:pPr marL="0" lvl="0"/>
            <a:r>
              <a:rPr lang="de-CH"/>
              <a:t>Quellenhinweis</a:t>
            </a:r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309E6FA3-BC44-421D-BEBE-100134500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5892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1"/>
          <p:cNvSpPr>
            <a:spLocks noGrp="1"/>
          </p:cNvSpPr>
          <p:nvPr>
            <p:ph type="dt" sz="half" idx="2"/>
          </p:nvPr>
        </p:nvSpPr>
        <p:spPr>
          <a:xfrm>
            <a:off x="1577889" y="29287625"/>
            <a:ext cx="6052265" cy="13221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59" smtClean="0">
                <a:solidFill>
                  <a:srgbClr val="012C59"/>
                </a:solidFill>
              </a:defRPr>
            </a:lvl1pPr>
          </a:lstStyle>
          <a:p>
            <a:r>
              <a:rPr lang="de-CH"/>
              <a:t>September 2017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9932063" y="29287625"/>
            <a:ext cx="13560458" cy="13221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Eröffnungsvormittag CAS IC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512375" y="27611811"/>
            <a:ext cx="30545307" cy="144078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859" dirty="0" smtClean="0">
                <a:solidFill>
                  <a:srgbClr val="012C59"/>
                </a:solidFill>
                <a:latin typeface="+mn-lt"/>
                <a:cs typeface="+mn-cs"/>
              </a:defRPr>
            </a:lvl1pPr>
            <a:lvl2pPr>
              <a:defRPr lang="de-DE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de-DE" sz="193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de-DE" sz="1934" dirty="0" smtClean="0"/>
            </a:lvl4pPr>
            <a:lvl5pPr>
              <a:defRPr lang="de-CH" sz="1934" dirty="0"/>
            </a:lvl5pPr>
          </a:lstStyle>
          <a:p>
            <a:pPr marL="0" lvl="0"/>
            <a:r>
              <a:rPr lang="de-CH"/>
              <a:t>Quellenhinweis</a:t>
            </a: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F5FB9CBF-115C-4CE6-A429-574255D7EF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6097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llustration_blau Verlauf">
    <p:bg>
      <p:bgPr>
        <a:gradFill flip="none" rotWithShape="1">
          <a:gsLst>
            <a:gs pos="0">
              <a:srgbClr val="002B58"/>
            </a:gs>
            <a:gs pos="100000">
              <a:srgbClr val="0064A6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33217" y="10589789"/>
            <a:ext cx="35654978" cy="12397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llustration/Bild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3931113" y="27397202"/>
            <a:ext cx="35654982" cy="149507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775382" rtl="0" eaLnBrk="1" fontAlgn="auto" latinLnBrk="0" hangingPunct="1">
              <a:lnSpc>
                <a:spcPct val="100000"/>
              </a:lnSpc>
              <a:spcBef>
                <a:spcPts val="679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93" b="1" baseline="0">
                <a:solidFill>
                  <a:schemeClr val="bg1"/>
                </a:solidFill>
              </a:defRPr>
            </a:lvl1pPr>
            <a:lvl2pPr marL="154807" indent="0">
              <a:buFontTx/>
              <a:buNone/>
              <a:defRPr sz="1294"/>
            </a:lvl2pPr>
            <a:lvl3pPr marL="302884" indent="0">
              <a:buFontTx/>
              <a:buNone/>
              <a:defRPr sz="1294"/>
            </a:lvl3pPr>
            <a:lvl4pPr>
              <a:buFontTx/>
              <a:buNone/>
              <a:defRPr sz="1294"/>
            </a:lvl4pPr>
            <a:lvl5pPr>
              <a:buFontTx/>
              <a:buNone/>
              <a:defRPr sz="1294"/>
            </a:lvl5pPr>
          </a:lstStyle>
          <a:p>
            <a:r>
              <a:rPr lang="de-CH"/>
              <a:t>Titel Vorname Name (Arial </a:t>
            </a:r>
            <a:r>
              <a:rPr lang="de-CH" err="1"/>
              <a:t>bold</a:t>
            </a:r>
            <a:r>
              <a:rPr lang="de-CH"/>
              <a:t>, 14 </a:t>
            </a:r>
            <a:r>
              <a:rPr lang="de-CH" err="1"/>
              <a:t>pt</a:t>
            </a:r>
            <a:r>
              <a:rPr lang="de-CH"/>
              <a:t>, weiss)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3931113" y="28533367"/>
            <a:ext cx="35654982" cy="1293336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775382" rtl="0" eaLnBrk="1" fontAlgn="auto" latinLnBrk="0" hangingPunct="1">
              <a:lnSpc>
                <a:spcPct val="100000"/>
              </a:lnSpc>
              <a:spcBef>
                <a:spcPts val="679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93" baseline="0">
                <a:solidFill>
                  <a:schemeClr val="bg1"/>
                </a:solidFill>
              </a:defRPr>
            </a:lvl1pPr>
            <a:lvl2pPr marL="154807" indent="0">
              <a:buFontTx/>
              <a:buNone/>
              <a:defRPr sz="1294"/>
            </a:lvl2pPr>
            <a:lvl3pPr marL="302884" indent="0">
              <a:buFontTx/>
              <a:buNone/>
              <a:defRPr sz="1294"/>
            </a:lvl3pPr>
            <a:lvl4pPr>
              <a:buFontTx/>
              <a:buNone/>
              <a:defRPr sz="1294"/>
            </a:lvl4pPr>
            <a:lvl5pPr>
              <a:buFontTx/>
              <a:buNone/>
              <a:defRPr sz="1294"/>
            </a:lvl5pPr>
          </a:lstStyle>
          <a:p>
            <a:r>
              <a:rPr lang="de-CH"/>
              <a:t>vorname.name@zhaw.ch, TT Monat JJJJ (Arial, 10 </a:t>
            </a:r>
            <a:r>
              <a:rPr lang="de-CH" err="1"/>
              <a:t>pt</a:t>
            </a:r>
            <a:r>
              <a:rPr lang="de-CH"/>
              <a:t>, weiss) 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004617" y="4710340"/>
            <a:ext cx="37451803" cy="395926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sz="2787"/>
            </a:lvl1pPr>
          </a:lstStyle>
          <a:p>
            <a:r>
              <a:rPr lang="de-CH"/>
              <a:t>Titelmasterformat durch Klicken bearbeiten</a:t>
            </a:r>
          </a:p>
        </p:txBody>
      </p:sp>
      <p:pic>
        <p:nvPicPr>
          <p:cNvPr id="9" name="Grafik 1">
            <a:extLst>
              <a:ext uri="{FF2B5EF4-FFF2-40B4-BE49-F238E27FC236}">
                <a16:creationId xmlns:a16="http://schemas.microsoft.com/office/drawing/2014/main" id="{EE2A581E-E1E8-4418-B8FD-A303B8121641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242" y="724788"/>
            <a:ext cx="9236369" cy="3534931"/>
          </a:xfrm>
          <a:prstGeom prst="rect">
            <a:avLst/>
          </a:prstGeom>
        </p:spPr>
      </p:pic>
      <p:pic>
        <p:nvPicPr>
          <p:cNvPr id="12" name="Grafik 16">
            <a:extLst>
              <a:ext uri="{FF2B5EF4-FFF2-40B4-BE49-F238E27FC236}">
                <a16:creationId xmlns:a16="http://schemas.microsoft.com/office/drawing/2014/main" id="{D452378A-8976-40D8-A331-046593AECE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851644" y="13695708"/>
            <a:ext cx="21100483" cy="925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001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llustration inver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3901386" y="27397202"/>
            <a:ext cx="35654982" cy="143803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775382" rtl="0" eaLnBrk="1" fontAlgn="auto" latinLnBrk="0" hangingPunct="1">
              <a:lnSpc>
                <a:spcPct val="100000"/>
              </a:lnSpc>
              <a:spcBef>
                <a:spcPts val="679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93" b="1" baseline="0">
                <a:solidFill>
                  <a:srgbClr val="0064A6"/>
                </a:solidFill>
              </a:defRPr>
            </a:lvl1pPr>
            <a:lvl2pPr marL="154807" indent="0">
              <a:buFontTx/>
              <a:buNone/>
              <a:defRPr sz="1294"/>
            </a:lvl2pPr>
            <a:lvl3pPr marL="302884" indent="0">
              <a:buFontTx/>
              <a:buNone/>
              <a:defRPr sz="1294"/>
            </a:lvl3pPr>
            <a:lvl4pPr>
              <a:buFontTx/>
              <a:buNone/>
              <a:defRPr sz="1294"/>
            </a:lvl4pPr>
            <a:lvl5pPr>
              <a:buFontTx/>
              <a:buNone/>
              <a:defRPr sz="1294"/>
            </a:lvl5pPr>
          </a:lstStyle>
          <a:p>
            <a:r>
              <a:rPr lang="de-CH"/>
              <a:t>Titel Vorname Name (Arial </a:t>
            </a:r>
            <a:r>
              <a:rPr lang="de-CH" err="1"/>
              <a:t>bold</a:t>
            </a:r>
            <a:r>
              <a:rPr lang="de-CH"/>
              <a:t>, 14 </a:t>
            </a:r>
            <a:r>
              <a:rPr lang="de-CH" err="1"/>
              <a:t>pt</a:t>
            </a:r>
            <a:r>
              <a:rPr lang="de-CH"/>
              <a:t>, weiss)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333217" y="10589789"/>
            <a:ext cx="35654978" cy="12397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0064A6"/>
                </a:solidFill>
              </a:defRPr>
            </a:lvl1pPr>
          </a:lstStyle>
          <a:p>
            <a:r>
              <a:rPr lang="de-CH"/>
              <a:t>Illustration/Bild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3901386" y="28533367"/>
            <a:ext cx="35654982" cy="1293336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775382" rtl="0" eaLnBrk="1" fontAlgn="auto" latinLnBrk="0" hangingPunct="1">
              <a:lnSpc>
                <a:spcPct val="100000"/>
              </a:lnSpc>
              <a:spcBef>
                <a:spcPts val="679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93" baseline="0">
                <a:solidFill>
                  <a:srgbClr val="0064A6"/>
                </a:solidFill>
              </a:defRPr>
            </a:lvl1pPr>
            <a:lvl2pPr marL="154807" indent="0">
              <a:buFontTx/>
              <a:buNone/>
              <a:defRPr sz="1294"/>
            </a:lvl2pPr>
            <a:lvl3pPr marL="302884" indent="0">
              <a:buFontTx/>
              <a:buNone/>
              <a:defRPr sz="1294"/>
            </a:lvl3pPr>
            <a:lvl4pPr>
              <a:buFontTx/>
              <a:buNone/>
              <a:defRPr sz="1294"/>
            </a:lvl4pPr>
            <a:lvl5pPr>
              <a:buFontTx/>
              <a:buNone/>
              <a:defRPr sz="1294"/>
            </a:lvl5pPr>
          </a:lstStyle>
          <a:p>
            <a:r>
              <a:rPr lang="de-CH"/>
              <a:t>vorname.name@zhaw.ch, TT Monat JJJJ (Arial, 14 </a:t>
            </a:r>
            <a:r>
              <a:rPr lang="de-CH" err="1"/>
              <a:t>pt</a:t>
            </a:r>
            <a:r>
              <a:rPr lang="de-CH"/>
              <a:t>, weiss) </a:t>
            </a: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004617" y="4710340"/>
            <a:ext cx="37451803" cy="395926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sz="2787">
                <a:solidFill>
                  <a:srgbClr val="0064A6"/>
                </a:solidFill>
              </a:defRPr>
            </a:lvl1pPr>
          </a:lstStyle>
          <a:p>
            <a:r>
              <a:rPr lang="de-CH"/>
              <a:t>Titelmasterformat durch Klicken bearbeiten</a:t>
            </a:r>
          </a:p>
        </p:txBody>
      </p:sp>
      <p:pic>
        <p:nvPicPr>
          <p:cNvPr id="13" name="Grafik 1">
            <a:extLst>
              <a:ext uri="{FF2B5EF4-FFF2-40B4-BE49-F238E27FC236}">
                <a16:creationId xmlns:a16="http://schemas.microsoft.com/office/drawing/2014/main" id="{A9C75865-2C5C-4079-BEDE-785202B93A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74" y="724782"/>
            <a:ext cx="9233146" cy="3529278"/>
          </a:xfrm>
          <a:prstGeom prst="rect">
            <a:avLst/>
          </a:prstGeom>
        </p:spPr>
      </p:pic>
      <p:pic>
        <p:nvPicPr>
          <p:cNvPr id="14" name="Grafik 12">
            <a:extLst>
              <a:ext uri="{FF2B5EF4-FFF2-40B4-BE49-F238E27FC236}">
                <a16:creationId xmlns:a16="http://schemas.microsoft.com/office/drawing/2014/main" id="{DE8F5290-1529-4031-B05D-86F189F779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777792" y="13695706"/>
            <a:ext cx="21619600" cy="9301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6433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63" y="6484826"/>
            <a:ext cx="39779263" cy="20099438"/>
          </a:xfrm>
        </p:spPr>
        <p:txBody>
          <a:bodyPr/>
          <a:lstStyle>
            <a:lvl1pPr>
              <a:defRPr sz="1990"/>
            </a:lvl1pPr>
            <a:lvl2pPr>
              <a:defRPr sz="1792"/>
            </a:lvl2pPr>
            <a:lvl3pPr>
              <a:defRPr sz="1792"/>
            </a:lvl3pPr>
            <a:lvl4pPr>
              <a:defRPr sz="1792"/>
            </a:lvl4pPr>
            <a:lvl5pPr>
              <a:defRPr sz="1792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Foliennummernplatzhalter 6">
            <a:extLst>
              <a:ext uri="{FF2B5EF4-FFF2-40B4-BE49-F238E27FC236}">
                <a16:creationId xmlns:a16="http://schemas.microsoft.com/office/drawing/2014/main" id="{FB934135-429F-4489-9D12-6DDC4F4D10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1146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61" y="6561569"/>
            <a:ext cx="19385350" cy="20022696"/>
          </a:xfrm>
        </p:spPr>
        <p:txBody>
          <a:bodyPr/>
          <a:lstStyle>
            <a:lvl1pPr>
              <a:defRPr sz="1990"/>
            </a:lvl1pPr>
            <a:lvl2pPr>
              <a:defRPr sz="1792"/>
            </a:lvl2pPr>
            <a:lvl3pPr>
              <a:defRPr sz="1792"/>
            </a:lvl3pPr>
            <a:lvl4pPr>
              <a:defRPr sz="1792"/>
            </a:lvl4pPr>
            <a:lvl5pPr>
              <a:defRPr sz="1792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2076034" y="6484826"/>
            <a:ext cx="19385350" cy="20099438"/>
          </a:xfrm>
        </p:spPr>
        <p:txBody>
          <a:bodyPr/>
          <a:lstStyle>
            <a:lvl1pPr>
              <a:defRPr sz="1990"/>
            </a:lvl1pPr>
            <a:lvl2pPr>
              <a:defRPr sz="1792"/>
            </a:lvl2pPr>
            <a:lvl3pPr>
              <a:defRPr sz="1792"/>
            </a:lvl3pPr>
            <a:lvl4pPr>
              <a:defRPr sz="1792"/>
            </a:lvl4pPr>
            <a:lvl5pPr>
              <a:defRPr sz="1792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73D9F6D0-3837-478D-94A2-7217FC1B4D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41644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57948" userDrawn="1">
          <p15:clr>
            <a:srgbClr val="FBAE40"/>
          </p15:clr>
        </p15:guide>
        <p15:guide id="4" pos="55296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-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61" y="6484826"/>
            <a:ext cx="19385350" cy="20099438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2076034" y="6561567"/>
            <a:ext cx="19385350" cy="200227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6654ADA1-1A4E-4934-BF5B-5EE212B27A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2892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57948" userDrawn="1">
          <p15:clr>
            <a:srgbClr val="FBAE40"/>
          </p15:clr>
        </p15:guide>
        <p15:guide id="4" pos="5529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0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63" y="6484826"/>
            <a:ext cx="39779263" cy="20099438"/>
          </a:xfrm>
        </p:spPr>
        <p:txBody>
          <a:bodyPr/>
          <a:lstStyle>
            <a:lvl1pPr>
              <a:defRPr sz="1990"/>
            </a:lvl1pPr>
            <a:lvl2pPr>
              <a:defRPr sz="1792"/>
            </a:lvl2pPr>
            <a:lvl3pPr>
              <a:defRPr sz="1792"/>
            </a:lvl3pPr>
            <a:lvl4pPr>
              <a:defRPr sz="1792"/>
            </a:lvl4pPr>
            <a:lvl5pPr>
              <a:defRPr sz="1792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5026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-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51" y="6484836"/>
            <a:ext cx="12638907" cy="20099434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5248498" y="6484836"/>
            <a:ext cx="12638907" cy="20099434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375D04-E11A-4C13-BC8E-B231EFEF11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8817538" y="6484836"/>
            <a:ext cx="12638907" cy="20099434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159FCA39-FCA3-4DC0-80E8-911EE9694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576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39948" userDrawn="1">
          <p15:clr>
            <a:srgbClr val="FBAE40"/>
          </p15:clr>
        </p15:guide>
        <p15:guide id="4" pos="37683" userDrawn="1">
          <p15:clr>
            <a:srgbClr val="FBAE40"/>
          </p15:clr>
        </p15:guide>
        <p15:guide id="5" pos="73250" userDrawn="1">
          <p15:clr>
            <a:srgbClr val="FBAE40"/>
          </p15:clr>
        </p15:guide>
        <p15:guide id="6" pos="7560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mit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51" y="17681678"/>
            <a:ext cx="12638907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5248498" y="17681678"/>
            <a:ext cx="12638907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375D04-E11A-4C13-BC8E-B231EFEF11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8817538" y="17681678"/>
            <a:ext cx="12638907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83674F-1226-492D-8071-42CE84274A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709190" y="6613127"/>
            <a:ext cx="12647916" cy="910125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Bild durch Klicken auf Symbol hinzufüge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183A28E-828D-4F68-8D1C-93168823023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5219127" y="6613127"/>
            <a:ext cx="12647916" cy="910125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Bild durch Klicken auf Symbol hinzufügen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EC752F38-42E0-4D32-8853-D8521AE5E3E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822966" y="6613127"/>
            <a:ext cx="12647916" cy="910125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Bild durch Klicken auf Symbol hinzufügen</a:t>
            </a:r>
          </a:p>
        </p:txBody>
      </p:sp>
      <p:sp>
        <p:nvSpPr>
          <p:cNvPr id="14" name="Foliennummernplatzhalter 6">
            <a:extLst>
              <a:ext uri="{FF2B5EF4-FFF2-40B4-BE49-F238E27FC236}">
                <a16:creationId xmlns:a16="http://schemas.microsoft.com/office/drawing/2014/main" id="{EC5BCB48-AE38-419B-BFB1-DB7F9CC3E6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2706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0399" userDrawn="1">
          <p15:clr>
            <a:srgbClr val="FBAE40"/>
          </p15:clr>
        </p15:guide>
        <p15:guide id="3" pos="39948" userDrawn="1">
          <p15:clr>
            <a:srgbClr val="FBAE40"/>
          </p15:clr>
        </p15:guide>
        <p15:guide id="4" pos="37683" userDrawn="1">
          <p15:clr>
            <a:srgbClr val="FBAE40"/>
          </p15:clr>
        </p15:guide>
        <p15:guide id="5" pos="73250" userDrawn="1">
          <p15:clr>
            <a:srgbClr val="FBAE40"/>
          </p15:clr>
        </p15:guide>
        <p15:guide id="6" pos="75604" userDrawn="1">
          <p15:clr>
            <a:srgbClr val="FBAE40"/>
          </p15:clr>
        </p15:guide>
        <p15:guide id="7" orient="horz" pos="49387" userDrawn="1">
          <p15:clr>
            <a:srgbClr val="FBAE40"/>
          </p15:clr>
        </p15:guide>
        <p15:guide id="8" orient="horz" pos="4701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61" y="6486216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2076034" y="6486216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5D78439-BE38-4706-BADD-DC3DAA1D5EF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679461" y="17681678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E7759A-02D4-423F-9BC2-3BFF1C9D72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2076034" y="17681678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7245537F-3B84-47B7-9BA2-A642F5D4B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08130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57948" userDrawn="1">
          <p15:clr>
            <a:srgbClr val="FBAE40"/>
          </p15:clr>
        </p15:guide>
        <p15:guide id="4" pos="55296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9732" y="6484826"/>
            <a:ext cx="30337323" cy="20099438"/>
          </a:xfrm>
          <a:solidFill>
            <a:schemeClr val="tx1"/>
          </a:solidFill>
        </p:spPr>
        <p:txBody>
          <a:bodyPr lIns="180000"/>
          <a:lstStyle>
            <a:lvl1pPr marL="0" indent="0">
              <a:buNone/>
              <a:defRPr sz="1990">
                <a:solidFill>
                  <a:schemeClr val="bg1"/>
                </a:solidFill>
              </a:defRPr>
            </a:lvl1pPr>
            <a:lvl2pPr marL="268748" indent="0">
              <a:buNone/>
              <a:defRPr sz="1195">
                <a:solidFill>
                  <a:schemeClr val="bg1"/>
                </a:solidFill>
              </a:defRPr>
            </a:lvl2pPr>
            <a:lvl3pPr marL="537497" indent="0">
              <a:buNone/>
              <a:defRPr sz="1195">
                <a:solidFill>
                  <a:schemeClr val="bg1"/>
                </a:solidFill>
              </a:defRPr>
            </a:lvl3pPr>
            <a:lvl4pPr marL="806246" indent="0">
              <a:buNone/>
              <a:defRPr sz="1195">
                <a:solidFill>
                  <a:schemeClr val="bg1"/>
                </a:solidFill>
              </a:defRPr>
            </a:lvl4pPr>
            <a:lvl5pPr marL="1074994" indent="0">
              <a:buNone/>
              <a:defRPr sz="1195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2057682" y="6484836"/>
            <a:ext cx="9403714" cy="20099434"/>
          </a:xfrm>
        </p:spPr>
        <p:txBody>
          <a:bodyPr/>
          <a:lstStyle>
            <a:lvl1pPr indent="-179165">
              <a:defRPr sz="1095"/>
            </a:lvl1pPr>
            <a:lvl2pPr indent="-179165">
              <a:defRPr sz="1046"/>
            </a:lvl2pPr>
            <a:lvl3pPr indent="-179165">
              <a:defRPr sz="1046"/>
            </a:lvl3pPr>
            <a:lvl4pPr indent="-179165">
              <a:defRPr sz="1046"/>
            </a:lvl4pPr>
            <a:lvl5pPr indent="-179165">
              <a:defRPr sz="1046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81535BF2-2CDA-4B51-81BF-DA4FEAE07F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4408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83966" userDrawn="1">
          <p15:clr>
            <a:srgbClr val="FBAE40"/>
          </p15:clr>
        </p15:guide>
        <p15:guide id="4" pos="81819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5D78439-BE38-4706-BADD-DC3DAA1D5EF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679461" y="17681678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E7759A-02D4-423F-9BC2-3BFF1C9D72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2076034" y="17681678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D07E2B17-5862-4082-96B7-9A899ACD714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709178" y="6486224"/>
            <a:ext cx="19355631" cy="910125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Bild durch Klicken auf Symbol hinzufügen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4869CF37-840D-4760-9C12-8A42147A71D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076040" y="6486224"/>
            <a:ext cx="19355631" cy="910125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Bild durch Klicken auf Symbol hinzufügen</a:t>
            </a:r>
          </a:p>
        </p:txBody>
      </p:sp>
      <p:sp>
        <p:nvSpPr>
          <p:cNvPr id="15" name="Foliennummernplatzhalter 6">
            <a:extLst>
              <a:ext uri="{FF2B5EF4-FFF2-40B4-BE49-F238E27FC236}">
                <a16:creationId xmlns:a16="http://schemas.microsoft.com/office/drawing/2014/main" id="{2C115B39-91C9-4CDD-9F58-8EE0181564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26314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57948" userDrawn="1">
          <p15:clr>
            <a:srgbClr val="FBAE40"/>
          </p15:clr>
        </p15:guide>
        <p15:guide id="4" pos="55296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Text mit Platzhalt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31918928" y="17377266"/>
            <a:ext cx="10119316" cy="98659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94"/>
            </a:lvl1pPr>
          </a:lstStyle>
          <a:p>
            <a:r>
              <a:rPr lang="de-CH"/>
              <a:t>Bild hier durch Klick </a:t>
            </a:r>
            <a:r>
              <a:rPr lang="de-CH" err="1"/>
              <a:t>einfücgen</a:t>
            </a:r>
            <a:endParaRPr lang="de-CH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31918928" y="6486214"/>
            <a:ext cx="10119316" cy="919672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294"/>
            </a:lvl1pPr>
          </a:lstStyle>
          <a:p>
            <a:r>
              <a:rPr lang="de-CH"/>
              <a:t>Bild hier durch Klick </a:t>
            </a:r>
            <a:r>
              <a:rPr lang="de-CH" err="1"/>
              <a:t>einfücgen</a:t>
            </a:r>
            <a:endParaRPr lang="de-CH"/>
          </a:p>
        </p:txBody>
      </p:sp>
      <p:sp>
        <p:nvSpPr>
          <p:cNvPr id="14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672082" y="6484824"/>
            <a:ext cx="40289403" cy="20758422"/>
          </a:xfrm>
          <a:prstGeom prst="rect">
            <a:avLst/>
          </a:prstGeom>
        </p:spPr>
        <p:txBody>
          <a:bodyPr/>
          <a:lstStyle>
            <a:lvl1pPr marL="276525" indent="-276525">
              <a:lnSpc>
                <a:spcPct val="120000"/>
              </a:lnSpc>
              <a:spcBef>
                <a:spcPts val="0"/>
              </a:spcBef>
              <a:defRPr sz="1593"/>
            </a:lvl1pPr>
            <a:lvl2pPr marL="560021" indent="-281865">
              <a:lnSpc>
                <a:spcPct val="120000"/>
              </a:lnSpc>
              <a:spcBef>
                <a:spcPts val="0"/>
              </a:spcBef>
              <a:defRPr sz="1393"/>
            </a:lvl2pPr>
            <a:lvl3pPr marL="836941" indent="-276920">
              <a:lnSpc>
                <a:spcPct val="120000"/>
              </a:lnSpc>
              <a:spcBef>
                <a:spcPts val="0"/>
              </a:spcBef>
              <a:defRPr sz="1393"/>
            </a:lvl3pPr>
            <a:lvl4pPr marL="1116332" indent="-279392">
              <a:lnSpc>
                <a:spcPct val="120000"/>
              </a:lnSpc>
              <a:spcBef>
                <a:spcPts val="0"/>
              </a:spcBef>
              <a:buFont typeface="Symbol" pitchFamily="18" charset="2"/>
              <a:buChar char="-"/>
              <a:defRPr sz="1393"/>
            </a:lvl4pPr>
            <a:lvl5pPr marL="1392015" indent="-275685">
              <a:lnSpc>
                <a:spcPct val="120000"/>
              </a:lnSpc>
              <a:spcBef>
                <a:spcPts val="0"/>
              </a:spcBef>
              <a:buFont typeface="Symbol" pitchFamily="18" charset="2"/>
              <a:buChar char="-"/>
              <a:defRPr sz="1393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24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5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82433094-2D5B-42F0-A5CD-FD0F02EAB1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459991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9147F5-E7B0-4735-A29C-430148DA19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29787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2">
            <a:extLst>
              <a:ext uri="{FF2B5EF4-FFF2-40B4-BE49-F238E27FC236}">
                <a16:creationId xmlns:a16="http://schemas.microsoft.com/office/drawing/2014/main" id="{4A893E88-2E06-4BD1-8A99-E6CED8937C40}"/>
              </a:ext>
            </a:extLst>
          </p:cNvPr>
          <p:cNvSpPr>
            <a:spLocks noChangeArrowheads="1"/>
          </p:cNvSpPr>
          <p:nvPr userDrawn="1"/>
        </p:nvSpPr>
        <p:spPr bwMode="hidden">
          <a:xfrm>
            <a:off x="0" y="-31986"/>
            <a:ext cx="42803763" cy="30275213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de-CH" sz="2034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15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28727960" y="29013332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chemeClr val="bg1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  <p:sp>
        <p:nvSpPr>
          <p:cNvPr id="16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bg1"/>
                </a:solidFill>
              </a:defRPr>
            </a:lvl1pPr>
          </a:lstStyle>
          <a:p>
            <a:r>
              <a:rPr lang="de-CH"/>
              <a:t>Freies Feld für Dokumentbezeichnung</a:t>
            </a:r>
          </a:p>
        </p:txBody>
      </p:sp>
      <p:sp>
        <p:nvSpPr>
          <p:cNvPr id="17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9BF654-5D24-4C6B-87B9-C62BD9FC614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16613" y="12321958"/>
            <a:ext cx="40246841" cy="12397526"/>
          </a:xfrm>
        </p:spPr>
        <p:txBody>
          <a:bodyPr/>
          <a:lstStyle>
            <a:lvl1pPr>
              <a:defRPr sz="1990">
                <a:solidFill>
                  <a:schemeClr val="bg1"/>
                </a:solidFill>
              </a:defRPr>
            </a:lvl1pPr>
            <a:lvl2pPr>
              <a:defRPr sz="1792">
                <a:solidFill>
                  <a:schemeClr val="bg1"/>
                </a:solidFill>
              </a:defRPr>
            </a:lvl2pPr>
            <a:lvl3pPr>
              <a:defRPr sz="1792">
                <a:solidFill>
                  <a:schemeClr val="bg1"/>
                </a:solidFill>
              </a:defRPr>
            </a:lvl3pPr>
            <a:lvl4pPr>
              <a:defRPr sz="1792">
                <a:solidFill>
                  <a:schemeClr val="bg1"/>
                </a:solidFill>
              </a:defRPr>
            </a:lvl4pPr>
            <a:lvl5pPr>
              <a:defRPr sz="1792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CE281D38-FA4F-4C5F-AF5F-D01CA2DA8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6616" y="5911338"/>
            <a:ext cx="40246841" cy="419881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78F0FC-7941-4532-AB04-4E3217BE90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67738" y="28267290"/>
            <a:ext cx="5761771" cy="1130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3033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llustration">
    <p:bg>
      <p:bgPr>
        <a:gradFill flip="none" rotWithShape="1">
          <a:gsLst>
            <a:gs pos="0">
              <a:srgbClr val="002B58"/>
            </a:gs>
            <a:gs pos="100000">
              <a:srgbClr val="0064A6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948" y="6554705"/>
            <a:ext cx="36152437" cy="1589310"/>
          </a:xfrm>
          <a:ln>
            <a:noFill/>
          </a:ln>
        </p:spPr>
        <p:txBody>
          <a:bodyPr/>
          <a:lstStyle>
            <a:lvl1pPr marL="0" indent="0" algn="l">
              <a:buNone/>
              <a:defRPr sz="3182" b="1" baseline="0">
                <a:solidFill>
                  <a:srgbClr val="6FBAED"/>
                </a:solidFill>
              </a:defRPr>
            </a:lvl1pPr>
            <a:lvl2pPr marL="501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3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04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065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08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09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11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13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1. Titel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5541358" y="27853023"/>
            <a:ext cx="36425541" cy="953655"/>
          </a:xfrm>
          <a:ln>
            <a:noFill/>
          </a:ln>
        </p:spPr>
        <p:txBody>
          <a:bodyPr/>
          <a:lstStyle>
            <a:lvl1pPr marL="0" marR="0" indent="0" algn="l" defTabSz="1003280" rtl="0" eaLnBrk="1" fontAlgn="auto" latinLnBrk="0" hangingPunct="1">
              <a:lnSpc>
                <a:spcPct val="100000"/>
              </a:lnSpc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36" b="1">
                <a:solidFill>
                  <a:schemeClr val="bg1"/>
                </a:solidFill>
              </a:defRPr>
            </a:lvl1pPr>
            <a:lvl2pPr marL="200308" indent="0">
              <a:buFontTx/>
              <a:buNone/>
              <a:defRPr sz="1756"/>
            </a:lvl2pPr>
            <a:lvl3pPr marL="391906" indent="0">
              <a:buFontTx/>
              <a:buNone/>
              <a:defRPr sz="1756"/>
            </a:lvl3pPr>
            <a:lvl4pPr>
              <a:buFontTx/>
              <a:buNone/>
              <a:defRPr sz="1756"/>
            </a:lvl4pPr>
            <a:lvl5pPr>
              <a:buFontTx/>
              <a:buNone/>
              <a:defRPr sz="1756"/>
            </a:lvl5pPr>
          </a:lstStyle>
          <a:p>
            <a:r>
              <a:rPr lang="de-CH"/>
              <a:t>Titel Vorname Nam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065E93"/>
              </a:clrFrom>
              <a:clrTo>
                <a:srgbClr val="065E9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007" y="239663"/>
            <a:ext cx="14116549" cy="6038893"/>
          </a:xfrm>
          <a:prstGeom prst="rect">
            <a:avLst/>
          </a:prstGeom>
        </p:spPr>
      </p:pic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73948" y="8462020"/>
            <a:ext cx="36152437" cy="25430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3182" b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lvl="0"/>
            <a:r>
              <a:rPr lang="de-DE"/>
              <a:t>2. Titelebene</a:t>
            </a:r>
          </a:p>
          <a:p>
            <a:pPr lvl="0"/>
            <a:endParaRPr lang="de-DE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58550" y="11640870"/>
            <a:ext cx="36067831" cy="1239752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llustratio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5543039" y="28932832"/>
            <a:ext cx="36541001" cy="1293336"/>
          </a:xfrm>
          <a:ln>
            <a:noFill/>
          </a:ln>
        </p:spPr>
        <p:txBody>
          <a:bodyPr/>
          <a:lstStyle>
            <a:lvl1pPr marL="0" marR="0" indent="0" algn="l" defTabSz="1003280" rtl="0" eaLnBrk="1" fontAlgn="auto" latinLnBrk="0" hangingPunct="1">
              <a:lnSpc>
                <a:spcPct val="100000"/>
              </a:lnSpc>
              <a:spcBef>
                <a:spcPts val="878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36" baseline="0">
                <a:solidFill>
                  <a:schemeClr val="bg1"/>
                </a:solidFill>
              </a:defRPr>
            </a:lvl1pPr>
            <a:lvl2pPr marL="200308" indent="0">
              <a:buFontTx/>
              <a:buNone/>
              <a:defRPr sz="1756"/>
            </a:lvl2pPr>
            <a:lvl3pPr marL="391906" indent="0">
              <a:buFontTx/>
              <a:buNone/>
              <a:defRPr sz="1756"/>
            </a:lvl3pPr>
            <a:lvl4pPr>
              <a:buFontTx/>
              <a:buNone/>
              <a:defRPr sz="1756"/>
            </a:lvl4pPr>
            <a:lvl5pPr>
              <a:buFontTx/>
              <a:buNone/>
              <a:defRPr sz="1756"/>
            </a:lvl5pPr>
          </a:lstStyle>
          <a:p>
            <a:r>
              <a:rPr lang="de-CH"/>
              <a:t>vorname.name@zhaw.ch, TT Monat JJJJ </a:t>
            </a:r>
          </a:p>
        </p:txBody>
      </p:sp>
      <p:pic>
        <p:nvPicPr>
          <p:cNvPr id="12" name="Bildplatzhalter 6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151311"/>
              </a:clrFrom>
              <a:clrTo>
                <a:srgbClr val="15131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53" b="219"/>
          <a:stretch/>
        </p:blipFill>
        <p:spPr>
          <a:xfrm>
            <a:off x="11445207" y="12912417"/>
            <a:ext cx="24269397" cy="1073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2570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44985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0" name="Inhaltsplatzhalter 3"/>
          <p:cNvSpPr>
            <a:spLocks noGrp="1"/>
          </p:cNvSpPr>
          <p:nvPr>
            <p:ph sz="half" idx="13"/>
          </p:nvPr>
        </p:nvSpPr>
        <p:spPr>
          <a:xfrm>
            <a:off x="735702" y="6896035"/>
            <a:ext cx="41206056" cy="20639011"/>
          </a:xfrm>
        </p:spPr>
        <p:txBody>
          <a:bodyPr/>
          <a:lstStyle>
            <a:lvl1pPr>
              <a:defRPr sz="2194"/>
            </a:lvl1pPr>
            <a:lvl2pPr>
              <a:defRPr sz="1975"/>
            </a:lvl2pPr>
            <a:lvl3pPr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C2486090-1269-4774-A3AB-EA21F59D65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827864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61" y="6561569"/>
            <a:ext cx="19385350" cy="20022696"/>
          </a:xfrm>
        </p:spPr>
        <p:txBody>
          <a:bodyPr/>
          <a:lstStyle>
            <a:lvl1pPr>
              <a:defRPr sz="1990"/>
            </a:lvl1pPr>
            <a:lvl2pPr>
              <a:defRPr sz="1792"/>
            </a:lvl2pPr>
            <a:lvl3pPr>
              <a:defRPr sz="1792"/>
            </a:lvl3pPr>
            <a:lvl4pPr>
              <a:defRPr sz="1792"/>
            </a:lvl4pPr>
            <a:lvl5pPr>
              <a:defRPr sz="1792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2076034" y="6484826"/>
            <a:ext cx="19385350" cy="20099438"/>
          </a:xfrm>
        </p:spPr>
        <p:txBody>
          <a:bodyPr/>
          <a:lstStyle>
            <a:lvl1pPr>
              <a:defRPr sz="1990"/>
            </a:lvl1pPr>
            <a:lvl2pPr>
              <a:defRPr sz="1792"/>
            </a:lvl2pPr>
            <a:lvl3pPr>
              <a:defRPr sz="1792"/>
            </a:lvl3pPr>
            <a:lvl4pPr>
              <a:defRPr sz="1792"/>
            </a:lvl4pPr>
            <a:lvl5pPr>
              <a:defRPr sz="1792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165AA3AA-61CF-4C3C-AB95-2D01E0C463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7008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57948" userDrawn="1">
          <p15:clr>
            <a:srgbClr val="FBAE40"/>
          </p15:clr>
        </p15:guide>
        <p15:guide id="4" pos="55296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2"/>
          <p:cNvSpPr>
            <a:spLocks noChangeArrowheads="1"/>
          </p:cNvSpPr>
          <p:nvPr userDrawn="1"/>
        </p:nvSpPr>
        <p:spPr bwMode="hidden">
          <a:xfrm>
            <a:off x="731755" y="720341"/>
            <a:ext cx="41360318" cy="4008571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de-DE" sz="2195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Datumsplatzhalter 1"/>
          <p:cNvSpPr>
            <a:spLocks noGrp="1"/>
          </p:cNvSpPr>
          <p:nvPr>
            <p:ph type="dt" sz="half" idx="2"/>
          </p:nvPr>
        </p:nvSpPr>
        <p:spPr>
          <a:xfrm>
            <a:off x="1577889" y="29287625"/>
            <a:ext cx="6052265" cy="13221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59" smtClean="0">
                <a:solidFill>
                  <a:srgbClr val="012C59"/>
                </a:solidFill>
              </a:defRPr>
            </a:lvl1pPr>
          </a:lstStyle>
          <a:p>
            <a:r>
              <a:rPr lang="de-CH"/>
              <a:t>September 2017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9932063" y="29287625"/>
            <a:ext cx="13560458" cy="13221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Eröffnungsvormittag CAS ICS</a:t>
            </a:r>
          </a:p>
        </p:txBody>
      </p:sp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51" y="1137358"/>
            <a:ext cx="39740905" cy="3203594"/>
          </a:xfrm>
          <a:prstGeom prst="rect">
            <a:avLst/>
          </a:prstGeom>
        </p:spPr>
        <p:txBody>
          <a:bodyPr lIns="90211" tIns="45107" rIns="90211" bIns="45107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578" b="0" spc="3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1524647" y="1041681"/>
            <a:ext cx="39740905" cy="336588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78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512375" y="27611811"/>
            <a:ext cx="30545307" cy="144078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859" dirty="0" smtClean="0">
                <a:solidFill>
                  <a:srgbClr val="012C59"/>
                </a:solidFill>
                <a:latin typeface="+mn-lt"/>
                <a:cs typeface="+mn-cs"/>
              </a:defRPr>
            </a:lvl1pPr>
            <a:lvl2pPr>
              <a:defRPr lang="de-DE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de-DE" sz="193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de-DE" sz="1934" dirty="0" smtClean="0"/>
            </a:lvl4pPr>
            <a:lvl5pPr>
              <a:defRPr lang="de-CH" sz="1934" dirty="0"/>
            </a:lvl5pPr>
          </a:lstStyle>
          <a:p>
            <a:pPr marL="0" lvl="0"/>
            <a:r>
              <a:rPr lang="de-CH"/>
              <a:t>Quellenhinweis</a:t>
            </a:r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733217E8-7944-4723-876A-89B23C6334B7}"/>
              </a:ext>
            </a:extLst>
          </p:cNvPr>
          <p:cNvSpPr txBox="1">
            <a:spLocks/>
          </p:cNvSpPr>
          <p:nvPr userDrawn="1"/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lang="de-CH" sz="816" kern="1200" smtClean="0">
                <a:solidFill>
                  <a:srgbClr val="012C5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5F9AC53-F790-4868-97E7-45E3866EE614}" type="slidenum">
              <a:rPr lang="en-GB" sz="895" smtClean="0"/>
              <a:pPr algn="r"/>
              <a:t>‹Nr.›</a:t>
            </a:fld>
            <a:r>
              <a:rPr lang="en-GB" sz="895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402560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halt mit 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44985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0" name="Inhaltsplatzhalter 3"/>
          <p:cNvSpPr>
            <a:spLocks noGrp="1"/>
          </p:cNvSpPr>
          <p:nvPr>
            <p:ph sz="half" idx="13"/>
          </p:nvPr>
        </p:nvSpPr>
        <p:spPr>
          <a:xfrm>
            <a:off x="735702" y="6896035"/>
            <a:ext cx="41206056" cy="20639011"/>
          </a:xfrm>
        </p:spPr>
        <p:txBody>
          <a:bodyPr/>
          <a:lstStyle>
            <a:lvl1pPr marL="386681" indent="-386681">
              <a:buFont typeface="+mj-lt"/>
              <a:buAutoNum type="arabicPeriod"/>
              <a:defRPr sz="2194"/>
            </a:lvl1pPr>
            <a:lvl2pPr marL="789038" indent="-402358">
              <a:buFont typeface="+mj-lt"/>
              <a:buAutoNum type="arabicPeriod"/>
              <a:defRPr sz="1975"/>
            </a:lvl2pPr>
            <a:lvl3pPr marL="789038" indent="386681">
              <a:buFont typeface="+mj-lt"/>
              <a:buAutoNum type="arabicPeriod"/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C687E685-734D-4BEB-8BF2-462E2BE38C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10489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95158" y="6767483"/>
            <a:ext cx="41168894" cy="1412143"/>
          </a:xfrm>
        </p:spPr>
        <p:txBody>
          <a:bodyPr anchor="b"/>
          <a:lstStyle>
            <a:lvl1pPr marL="0" indent="0">
              <a:buNone/>
              <a:defRPr sz="2194" b="1" cap="none" baseline="0">
                <a:solidFill>
                  <a:srgbClr val="002C59"/>
                </a:solidFill>
              </a:defRPr>
            </a:lvl1pPr>
            <a:lvl2pPr marL="501640" indent="0">
              <a:buNone/>
              <a:defRPr sz="2194" b="1"/>
            </a:lvl2pPr>
            <a:lvl3pPr marL="1003280" indent="0">
              <a:buNone/>
              <a:defRPr sz="1975" b="1"/>
            </a:lvl3pPr>
            <a:lvl4pPr marL="1504920" indent="0">
              <a:buNone/>
              <a:defRPr sz="1756" b="1"/>
            </a:lvl4pPr>
            <a:lvl5pPr marL="2006559" indent="0">
              <a:buNone/>
              <a:defRPr sz="1756" b="1"/>
            </a:lvl5pPr>
            <a:lvl6pPr marL="2508199" indent="0">
              <a:buNone/>
              <a:defRPr sz="1756" b="1"/>
            </a:lvl6pPr>
            <a:lvl7pPr marL="3009839" indent="0">
              <a:buNone/>
              <a:defRPr sz="1756" b="1"/>
            </a:lvl7pPr>
            <a:lvl8pPr marL="3511479" indent="0">
              <a:buNone/>
              <a:defRPr sz="1756" b="1"/>
            </a:lvl8pPr>
            <a:lvl9pPr marL="4013119" indent="0">
              <a:buNone/>
              <a:defRPr sz="1756" b="1"/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24548" y="8809249"/>
            <a:ext cx="41239496" cy="18704757"/>
          </a:xfrm>
        </p:spPr>
        <p:txBody>
          <a:bodyPr/>
          <a:lstStyle>
            <a:lvl1pPr marL="203792" indent="-203792">
              <a:buFont typeface="Symbol" pitchFamily="18" charset="2"/>
              <a:buChar char="-"/>
              <a:defRPr sz="2194"/>
            </a:lvl1pPr>
            <a:lvl2pPr marL="391907" indent="-191599">
              <a:buFont typeface="Symbol" pitchFamily="18" charset="2"/>
              <a:buChar char="-"/>
              <a:defRPr sz="1975"/>
            </a:lvl2pPr>
            <a:lvl3pPr marL="595697" indent="-205533">
              <a:buFont typeface="Symbol" pitchFamily="18" charset="2"/>
              <a:buChar char="-"/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07100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Foliennummernplatzhalter 6">
            <a:extLst>
              <a:ext uri="{FF2B5EF4-FFF2-40B4-BE49-F238E27FC236}">
                <a16:creationId xmlns:a16="http://schemas.microsoft.com/office/drawing/2014/main" id="{D0BB2FC6-FAA6-4306-BA0E-D591D188E5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681859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07100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13"/>
          </p:nvPr>
        </p:nvSpPr>
        <p:spPr>
          <a:xfrm>
            <a:off x="735696" y="6896035"/>
            <a:ext cx="18980813" cy="20639011"/>
          </a:xfrm>
        </p:spPr>
        <p:txBody>
          <a:bodyPr/>
          <a:lstStyle>
            <a:lvl1pPr>
              <a:defRPr sz="2194"/>
            </a:lvl1pPr>
            <a:lvl2pPr>
              <a:defRPr sz="1975"/>
            </a:lvl2pPr>
            <a:lvl3pPr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22984735" y="6896035"/>
            <a:ext cx="18971876" cy="20639011"/>
          </a:xfrm>
        </p:spPr>
        <p:txBody>
          <a:bodyPr/>
          <a:lstStyle>
            <a:lvl1pPr>
              <a:defRPr sz="2194"/>
            </a:lvl1pPr>
            <a:lvl2pPr>
              <a:defRPr sz="1975"/>
            </a:lvl2pPr>
            <a:lvl3pPr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Foliennummernplatzhalter 6">
            <a:extLst>
              <a:ext uri="{FF2B5EF4-FFF2-40B4-BE49-F238E27FC236}">
                <a16:creationId xmlns:a16="http://schemas.microsoft.com/office/drawing/2014/main" id="{A4817654-432C-40FF-8081-13BE8BCD22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326405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95158" y="6767475"/>
            <a:ext cx="18919853" cy="1412143"/>
          </a:xfrm>
        </p:spPr>
        <p:txBody>
          <a:bodyPr anchor="b"/>
          <a:lstStyle>
            <a:lvl1pPr marL="0" indent="0">
              <a:buNone/>
              <a:defRPr sz="2194" b="1" cap="none" baseline="0">
                <a:solidFill>
                  <a:srgbClr val="002C59"/>
                </a:solidFill>
              </a:defRPr>
            </a:lvl1pPr>
            <a:lvl2pPr marL="501640" indent="0">
              <a:buNone/>
              <a:defRPr sz="2194" b="1"/>
            </a:lvl2pPr>
            <a:lvl3pPr marL="1003280" indent="0">
              <a:buNone/>
              <a:defRPr sz="1975" b="1"/>
            </a:lvl3pPr>
            <a:lvl4pPr marL="1504920" indent="0">
              <a:buNone/>
              <a:defRPr sz="1756" b="1"/>
            </a:lvl4pPr>
            <a:lvl5pPr marL="2006559" indent="0">
              <a:buNone/>
              <a:defRPr sz="1756" b="1"/>
            </a:lvl5pPr>
            <a:lvl6pPr marL="2508199" indent="0">
              <a:buNone/>
              <a:defRPr sz="1756" b="1"/>
            </a:lvl6pPr>
            <a:lvl7pPr marL="3009839" indent="0">
              <a:buNone/>
              <a:defRPr sz="1756" b="1"/>
            </a:lvl7pPr>
            <a:lvl8pPr marL="3511479" indent="0">
              <a:buNone/>
              <a:defRPr sz="1756" b="1"/>
            </a:lvl8pPr>
            <a:lvl9pPr marL="4013119" indent="0">
              <a:buNone/>
              <a:defRPr sz="1756" b="1"/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23034781" y="6787399"/>
            <a:ext cx="18929261" cy="1398126"/>
          </a:xfrm>
        </p:spPr>
        <p:txBody>
          <a:bodyPr anchor="b"/>
          <a:lstStyle>
            <a:lvl1pPr marL="0" indent="0">
              <a:buNone/>
              <a:defRPr sz="2194" b="1" cap="none" baseline="0">
                <a:solidFill>
                  <a:srgbClr val="002C59"/>
                </a:solidFill>
              </a:defRPr>
            </a:lvl1pPr>
            <a:lvl2pPr marL="501640" indent="0">
              <a:buNone/>
              <a:defRPr sz="2194" b="1"/>
            </a:lvl2pPr>
            <a:lvl3pPr marL="1003280" indent="0">
              <a:buNone/>
              <a:defRPr sz="1975" b="1"/>
            </a:lvl3pPr>
            <a:lvl4pPr marL="1504920" indent="0">
              <a:buNone/>
              <a:defRPr sz="1756" b="1"/>
            </a:lvl4pPr>
            <a:lvl5pPr marL="2006559" indent="0">
              <a:buNone/>
              <a:defRPr sz="1756" b="1"/>
            </a:lvl5pPr>
            <a:lvl6pPr marL="2508199" indent="0">
              <a:buNone/>
              <a:defRPr sz="1756" b="1"/>
            </a:lvl6pPr>
            <a:lvl7pPr marL="3009839" indent="0">
              <a:buNone/>
              <a:defRPr sz="1756" b="1"/>
            </a:lvl7pPr>
            <a:lvl8pPr marL="3511479" indent="0">
              <a:buNone/>
              <a:defRPr sz="1756" b="1"/>
            </a:lvl8pPr>
            <a:lvl9pPr marL="4013119" indent="0">
              <a:buNone/>
              <a:defRPr sz="1756" b="1"/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07100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13"/>
          </p:nvPr>
        </p:nvSpPr>
        <p:spPr>
          <a:xfrm>
            <a:off x="735696" y="8788241"/>
            <a:ext cx="18980813" cy="18746805"/>
          </a:xfrm>
        </p:spPr>
        <p:txBody>
          <a:bodyPr/>
          <a:lstStyle>
            <a:lvl1pPr>
              <a:defRPr sz="2194"/>
            </a:lvl1pPr>
            <a:lvl2pPr>
              <a:defRPr sz="1975"/>
            </a:lvl2pPr>
            <a:lvl3pPr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1" name="Inhaltsplatzhalter 3"/>
          <p:cNvSpPr>
            <a:spLocks noGrp="1"/>
          </p:cNvSpPr>
          <p:nvPr>
            <p:ph sz="half" idx="16"/>
          </p:nvPr>
        </p:nvSpPr>
        <p:spPr>
          <a:xfrm>
            <a:off x="22984735" y="8788241"/>
            <a:ext cx="18971876" cy="18746805"/>
          </a:xfrm>
        </p:spPr>
        <p:txBody>
          <a:bodyPr/>
          <a:lstStyle>
            <a:lvl1pPr>
              <a:defRPr sz="2194"/>
            </a:lvl1pPr>
            <a:lvl2pPr>
              <a:defRPr sz="1975"/>
            </a:lvl2pPr>
            <a:lvl3pPr>
              <a:defRPr sz="1756"/>
            </a:lvl3pPr>
            <a:lvl4pPr>
              <a:defRPr sz="1756"/>
            </a:lvl4pPr>
            <a:lvl5pPr>
              <a:defRPr sz="1756"/>
            </a:lvl5pPr>
            <a:lvl6pPr>
              <a:defRPr sz="1756"/>
            </a:lvl6pPr>
            <a:lvl7pPr>
              <a:defRPr sz="1756"/>
            </a:lvl7pPr>
            <a:lvl8pPr>
              <a:defRPr sz="1756"/>
            </a:lvl8pPr>
            <a:lvl9pPr>
              <a:defRPr sz="1756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Foliennummernplatzhalter 6">
            <a:extLst>
              <a:ext uri="{FF2B5EF4-FFF2-40B4-BE49-F238E27FC236}">
                <a16:creationId xmlns:a16="http://schemas.microsoft.com/office/drawing/2014/main" id="{10E637FC-D2FA-4F94-AB8E-6605E27DC1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113673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735698" y="6896019"/>
            <a:ext cx="41228344" cy="20596958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fr-FR"/>
          </a:p>
        </p:txBody>
      </p:sp>
      <p:sp>
        <p:nvSpPr>
          <p:cNvPr id="13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07100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5853FAC-D615-4F3B-8257-5B9FCF187C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877628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/>
          <p:cNvSpPr>
            <a:spLocks noGrp="1"/>
          </p:cNvSpPr>
          <p:nvPr>
            <p:ph type="title"/>
          </p:nvPr>
        </p:nvSpPr>
        <p:spPr>
          <a:xfrm>
            <a:off x="505789" y="514881"/>
            <a:ext cx="41792649" cy="1907100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  <a:tileRect/>
          </a:gradFill>
          <a:ln>
            <a:noFill/>
          </a:ln>
        </p:spPr>
        <p:txBody>
          <a:bodyPr vert="horz" lIns="64800" tIns="45720" rIns="64800" bIns="4572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5331" y="2422194"/>
            <a:ext cx="41793116" cy="1875315"/>
          </a:xfrm>
          <a:gradFill>
            <a:gsLst>
              <a:gs pos="0">
                <a:srgbClr val="002B58"/>
              </a:gs>
              <a:gs pos="100000">
                <a:srgbClr val="0064A6"/>
              </a:gs>
            </a:gsLst>
            <a:lin ang="0" scaled="0"/>
          </a:gradFill>
          <a:ln>
            <a:noFill/>
          </a:ln>
        </p:spPr>
        <p:txBody>
          <a:bodyPr lIns="64800" rIns="64800"/>
          <a:lstStyle>
            <a:lvl1pPr marL="0" indent="0">
              <a:buFontTx/>
              <a:buNone/>
              <a:defRPr sz="2414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master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Foliennummernplatzhalter 6">
            <a:extLst>
              <a:ext uri="{FF2B5EF4-FFF2-40B4-BE49-F238E27FC236}">
                <a16:creationId xmlns:a16="http://schemas.microsoft.com/office/drawing/2014/main" id="{EB5303FF-799A-405B-A7B5-4426F31A16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008543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2"/>
          <p:cNvSpPr>
            <a:spLocks noChangeArrowheads="1"/>
          </p:cNvSpPr>
          <p:nvPr userDrawn="1"/>
        </p:nvSpPr>
        <p:spPr bwMode="hidden">
          <a:xfrm>
            <a:off x="731755" y="720341"/>
            <a:ext cx="41360318" cy="4008571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de-DE" sz="2195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Datumsplatzhalter 1"/>
          <p:cNvSpPr>
            <a:spLocks noGrp="1"/>
          </p:cNvSpPr>
          <p:nvPr>
            <p:ph type="dt" sz="half" idx="2"/>
          </p:nvPr>
        </p:nvSpPr>
        <p:spPr>
          <a:xfrm>
            <a:off x="1577889" y="29287625"/>
            <a:ext cx="6052265" cy="13221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59" smtClean="0">
                <a:solidFill>
                  <a:srgbClr val="012C59"/>
                </a:solidFill>
              </a:defRPr>
            </a:lvl1pPr>
          </a:lstStyle>
          <a:p>
            <a:r>
              <a:rPr lang="de-CH"/>
              <a:t>September 2017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9932063" y="29287625"/>
            <a:ext cx="13560458" cy="13221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Eröffnungsvormittag CAS ICS</a:t>
            </a:r>
          </a:p>
        </p:txBody>
      </p:sp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51" y="1137358"/>
            <a:ext cx="39740905" cy="3203594"/>
          </a:xfrm>
          <a:prstGeom prst="rect">
            <a:avLst/>
          </a:prstGeom>
        </p:spPr>
        <p:txBody>
          <a:bodyPr lIns="90211" tIns="45107" rIns="90211" bIns="45107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578" b="0" spc="3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1524647" y="1041681"/>
            <a:ext cx="39740905" cy="336588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78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512375" y="27611811"/>
            <a:ext cx="30545307" cy="144078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859" dirty="0" smtClean="0">
                <a:solidFill>
                  <a:srgbClr val="012C59"/>
                </a:solidFill>
                <a:latin typeface="+mn-lt"/>
                <a:cs typeface="+mn-cs"/>
              </a:defRPr>
            </a:lvl1pPr>
            <a:lvl2pPr>
              <a:defRPr lang="de-DE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de-DE" sz="193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de-DE" sz="1934" dirty="0" smtClean="0"/>
            </a:lvl4pPr>
            <a:lvl5pPr>
              <a:defRPr lang="de-CH" sz="1934" dirty="0"/>
            </a:lvl5pPr>
          </a:lstStyle>
          <a:p>
            <a:pPr marL="0" lvl="0"/>
            <a:r>
              <a:rPr lang="de-CH"/>
              <a:t>Quellenhinweis</a:t>
            </a:r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118221E9-24A5-44DA-BD56-61C8C8F938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11814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2"/>
          <p:cNvSpPr>
            <a:spLocks noChangeArrowheads="1"/>
          </p:cNvSpPr>
          <p:nvPr userDrawn="1"/>
        </p:nvSpPr>
        <p:spPr bwMode="hidden">
          <a:xfrm>
            <a:off x="731755" y="720341"/>
            <a:ext cx="41360318" cy="4008571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de-DE" sz="2195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Datumsplatzhalter 1"/>
          <p:cNvSpPr>
            <a:spLocks noGrp="1"/>
          </p:cNvSpPr>
          <p:nvPr>
            <p:ph type="dt" sz="half" idx="2"/>
          </p:nvPr>
        </p:nvSpPr>
        <p:spPr>
          <a:xfrm>
            <a:off x="1577889" y="29287625"/>
            <a:ext cx="6052265" cy="13221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59" smtClean="0">
                <a:solidFill>
                  <a:srgbClr val="012C59"/>
                </a:solidFill>
              </a:defRPr>
            </a:lvl1pPr>
          </a:lstStyle>
          <a:p>
            <a:r>
              <a:rPr lang="de-CH"/>
              <a:t>September 2017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9932063" y="29287625"/>
            <a:ext cx="13560458" cy="13221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Eröffnungsvormittag CAS ICS</a:t>
            </a:r>
          </a:p>
        </p:txBody>
      </p:sp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51" y="1137358"/>
            <a:ext cx="39740905" cy="3203594"/>
          </a:xfrm>
          <a:prstGeom prst="rect">
            <a:avLst/>
          </a:prstGeom>
        </p:spPr>
        <p:txBody>
          <a:bodyPr lIns="90211" tIns="45107" rIns="90211" bIns="45107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578" b="0" spc="3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1524647" y="1041681"/>
            <a:ext cx="39740905" cy="336588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78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512375" y="27611811"/>
            <a:ext cx="30545307" cy="144078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859" dirty="0" smtClean="0">
                <a:solidFill>
                  <a:srgbClr val="012C59"/>
                </a:solidFill>
                <a:latin typeface="+mn-lt"/>
                <a:cs typeface="+mn-cs"/>
              </a:defRPr>
            </a:lvl1pPr>
            <a:lvl2pPr>
              <a:defRPr lang="de-DE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de-DE" sz="193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de-DE" sz="1934" dirty="0" smtClean="0"/>
            </a:lvl4pPr>
            <a:lvl5pPr>
              <a:defRPr lang="de-CH" sz="1934" dirty="0"/>
            </a:lvl5pPr>
          </a:lstStyle>
          <a:p>
            <a:pPr marL="0" lvl="0"/>
            <a:r>
              <a:rPr lang="de-CH"/>
              <a:t>Quellenhinweis</a:t>
            </a:r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0853FE86-AC32-4F1C-8DB2-429A9580B3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32207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1"/>
          <p:cNvSpPr>
            <a:spLocks noGrp="1"/>
          </p:cNvSpPr>
          <p:nvPr>
            <p:ph type="dt" sz="half" idx="2"/>
          </p:nvPr>
        </p:nvSpPr>
        <p:spPr>
          <a:xfrm>
            <a:off x="1577889" y="29287625"/>
            <a:ext cx="6052265" cy="13221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59" smtClean="0">
                <a:solidFill>
                  <a:srgbClr val="012C59"/>
                </a:solidFill>
              </a:defRPr>
            </a:lvl1pPr>
          </a:lstStyle>
          <a:p>
            <a:r>
              <a:rPr lang="de-CH"/>
              <a:t>September 2017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9932063" y="29287625"/>
            <a:ext cx="13560458" cy="13221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5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Eröffnungsvormittag CAS IC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512375" y="27611811"/>
            <a:ext cx="30545307" cy="144078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859" dirty="0" smtClean="0">
                <a:solidFill>
                  <a:srgbClr val="012C59"/>
                </a:solidFill>
                <a:latin typeface="+mn-lt"/>
                <a:cs typeface="+mn-cs"/>
              </a:defRPr>
            </a:lvl1pPr>
            <a:lvl2pPr>
              <a:defRPr lang="de-DE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de-DE" sz="193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de-DE" sz="1934" dirty="0" smtClean="0"/>
            </a:lvl4pPr>
            <a:lvl5pPr>
              <a:defRPr lang="de-CH" sz="1934" dirty="0"/>
            </a:lvl5pPr>
          </a:lstStyle>
          <a:p>
            <a:pPr marL="0" lvl="0"/>
            <a:r>
              <a:rPr lang="de-CH"/>
              <a:t>Quellenhinweis</a:t>
            </a: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BEF0C504-B7B7-449A-93EA-74D61FCEF5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0302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-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61" y="6484826"/>
            <a:ext cx="19385350" cy="20099438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2076034" y="6561567"/>
            <a:ext cx="19385350" cy="200227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110C5B84-141C-45B4-9E26-07640C473B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905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57948" userDrawn="1">
          <p15:clr>
            <a:srgbClr val="FBAE40"/>
          </p15:clr>
        </p15:guide>
        <p15:guide id="4" pos="5529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-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51" y="6484836"/>
            <a:ext cx="12638907" cy="20099434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5248498" y="6484836"/>
            <a:ext cx="12638907" cy="20099434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375D04-E11A-4C13-BC8E-B231EFEF11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8817538" y="6484836"/>
            <a:ext cx="12638907" cy="20099434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4A3B326F-C114-4356-8555-30FA5B27FD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9162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39948" userDrawn="1">
          <p15:clr>
            <a:srgbClr val="FBAE40"/>
          </p15:clr>
        </p15:guide>
        <p15:guide id="4" pos="37683" userDrawn="1">
          <p15:clr>
            <a:srgbClr val="FBAE40"/>
          </p15:clr>
        </p15:guide>
        <p15:guide id="5" pos="73250" userDrawn="1">
          <p15:clr>
            <a:srgbClr val="FBAE40"/>
          </p15:clr>
        </p15:guide>
        <p15:guide id="6" pos="7560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mit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51" y="17681678"/>
            <a:ext cx="12638907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5248498" y="17681678"/>
            <a:ext cx="12638907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375D04-E11A-4C13-BC8E-B231EFEF11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8817538" y="17681678"/>
            <a:ext cx="12638907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83674F-1226-492D-8071-42CE84274A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709190" y="6613127"/>
            <a:ext cx="12647916" cy="910125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Bild durch Klicken auf Symbol hinzufüge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183A28E-828D-4F68-8D1C-93168823023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5219127" y="6613127"/>
            <a:ext cx="12647916" cy="910125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Bild durch Klicken auf Symbol hinzufügen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EC752F38-42E0-4D32-8853-D8521AE5E3E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822966" y="6613127"/>
            <a:ext cx="12647916" cy="910125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Bild durch Klicken auf Symbol hinzufügen</a:t>
            </a:r>
          </a:p>
        </p:txBody>
      </p:sp>
      <p:sp>
        <p:nvSpPr>
          <p:cNvPr id="14" name="Foliennummernplatzhalter 6">
            <a:extLst>
              <a:ext uri="{FF2B5EF4-FFF2-40B4-BE49-F238E27FC236}">
                <a16:creationId xmlns:a16="http://schemas.microsoft.com/office/drawing/2014/main" id="{73661A4A-F7E2-47B5-B322-EACD82558D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65274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0399" userDrawn="1">
          <p15:clr>
            <a:srgbClr val="FBAE40"/>
          </p15:clr>
        </p15:guide>
        <p15:guide id="3" pos="39948" userDrawn="1">
          <p15:clr>
            <a:srgbClr val="FBAE40"/>
          </p15:clr>
        </p15:guide>
        <p15:guide id="4" pos="37683" userDrawn="1">
          <p15:clr>
            <a:srgbClr val="FBAE40"/>
          </p15:clr>
        </p15:guide>
        <p15:guide id="5" pos="73250" userDrawn="1">
          <p15:clr>
            <a:srgbClr val="FBAE40"/>
          </p15:clr>
        </p15:guide>
        <p15:guide id="6" pos="75604" userDrawn="1">
          <p15:clr>
            <a:srgbClr val="FBAE40"/>
          </p15:clr>
        </p15:guide>
        <p15:guide id="7" orient="horz" pos="49387" userDrawn="1">
          <p15:clr>
            <a:srgbClr val="FBAE40"/>
          </p15:clr>
        </p15:guide>
        <p15:guide id="8" orient="horz" pos="4701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679461" y="6486216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2076034" y="6486216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5D78439-BE38-4706-BADD-DC3DAA1D5EF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679461" y="17681678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E7759A-02D4-423F-9BC2-3BFF1C9D72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2076034" y="17681678"/>
            <a:ext cx="19385350" cy="8899800"/>
          </a:xfrm>
        </p:spPr>
        <p:txBody>
          <a:bodyPr/>
          <a:lstStyle>
            <a:lvl1pPr>
              <a:defRPr sz="1393"/>
            </a:lvl1pPr>
            <a:lvl2pPr>
              <a:defRPr sz="1195"/>
            </a:lvl2pPr>
            <a:lvl3pPr>
              <a:defRPr sz="1195"/>
            </a:lvl3pPr>
            <a:lvl4pPr>
              <a:defRPr sz="1195"/>
            </a:lvl4pPr>
            <a:lvl5pPr>
              <a:defRPr sz="1195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C0A6C23F-E62A-449C-8C53-984FAC1A8F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94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57948" userDrawn="1">
          <p15:clr>
            <a:srgbClr val="FBAE40"/>
          </p15:clr>
        </p15:guide>
        <p15:guide id="4" pos="55296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1524647" y="1137374"/>
            <a:ext cx="39740905" cy="3203594"/>
          </a:xfrm>
          <a:prstGeom prst="rect">
            <a:avLst/>
          </a:prstGeom>
        </p:spPr>
        <p:txBody>
          <a:bodyPr lIns="71209" tIns="35605" rIns="71209" bIns="35605"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sz="1990" b="0" spc="23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588"/>
            </a:lvl1pPr>
          </a:lstStyle>
          <a:p>
            <a:r>
              <a:rPr lang="de-CH"/>
              <a:t>Titelmasterformat durch Klicken bearbeiten</a:t>
            </a:r>
          </a:p>
        </p:txBody>
      </p:sp>
      <p:sp>
        <p:nvSpPr>
          <p:cNvPr id="2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22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D6EDE-1D88-4253-A185-05406FA8DDD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9732" y="6484826"/>
            <a:ext cx="30337323" cy="20099438"/>
          </a:xfrm>
          <a:solidFill>
            <a:schemeClr val="tx1"/>
          </a:solidFill>
        </p:spPr>
        <p:txBody>
          <a:bodyPr lIns="180000"/>
          <a:lstStyle>
            <a:lvl1pPr marL="0" indent="0">
              <a:buNone/>
              <a:defRPr sz="1990">
                <a:solidFill>
                  <a:schemeClr val="bg1"/>
                </a:solidFill>
              </a:defRPr>
            </a:lvl1pPr>
            <a:lvl2pPr marL="268748" indent="0">
              <a:buNone/>
              <a:defRPr sz="1195">
                <a:solidFill>
                  <a:schemeClr val="bg1"/>
                </a:solidFill>
              </a:defRPr>
            </a:lvl2pPr>
            <a:lvl3pPr marL="537497" indent="0">
              <a:buNone/>
              <a:defRPr sz="1195">
                <a:solidFill>
                  <a:schemeClr val="bg1"/>
                </a:solidFill>
              </a:defRPr>
            </a:lvl3pPr>
            <a:lvl4pPr marL="806246" indent="0">
              <a:buNone/>
              <a:defRPr sz="1195">
                <a:solidFill>
                  <a:schemeClr val="bg1"/>
                </a:solidFill>
              </a:defRPr>
            </a:lvl4pPr>
            <a:lvl5pPr marL="1074994" indent="0">
              <a:buNone/>
              <a:defRPr sz="1195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88E4BF-9923-4166-A68B-00FA49283D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2057682" y="6484836"/>
            <a:ext cx="9403714" cy="20099434"/>
          </a:xfrm>
        </p:spPr>
        <p:txBody>
          <a:bodyPr/>
          <a:lstStyle>
            <a:lvl1pPr indent="-179165">
              <a:defRPr sz="1095"/>
            </a:lvl1pPr>
            <a:lvl2pPr indent="-179165">
              <a:defRPr sz="1046"/>
            </a:lvl2pPr>
            <a:lvl3pPr indent="-179165">
              <a:defRPr sz="1046"/>
            </a:lvl3pPr>
            <a:lvl4pPr indent="-179165">
              <a:defRPr sz="1046"/>
            </a:lvl4pPr>
            <a:lvl5pPr indent="-179165">
              <a:defRPr sz="1046"/>
            </a:lvl5pPr>
          </a:lstStyle>
          <a:p>
            <a:pPr lvl="0"/>
            <a:r>
              <a:rPr lang="de-CH"/>
              <a:t>Formatvorlagen des Textmasters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458C3838-096B-4272-AC60-15E517E62F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54961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4252" userDrawn="1">
          <p15:clr>
            <a:srgbClr val="FBAE40"/>
          </p15:clr>
        </p15:guide>
        <p15:guide id="2" orient="horz" pos="20399" userDrawn="1">
          <p15:clr>
            <a:srgbClr val="FBAE40"/>
          </p15:clr>
        </p15:guide>
        <p15:guide id="3" pos="83966" userDrawn="1">
          <p15:clr>
            <a:srgbClr val="FBAE40"/>
          </p15:clr>
        </p15:guide>
        <p15:guide id="4" pos="8181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3.xml"/><Relationship Id="rId30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859FDB0-485A-4EA0-887F-D1846EE814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019541071"/>
              </p:ext>
            </p:extLst>
          </p:nvPr>
        </p:nvGraphicFramePr>
        <p:xfrm>
          <a:off x="6860" y="7013"/>
          <a:ext cx="6863" cy="70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50" imgH="350" progId="TCLayout.ActiveDocument.1">
                  <p:embed/>
                </p:oleObj>
              </mc:Choice>
              <mc:Fallback>
                <p:oleObj name="think-cell Folie" r:id="rId27" imgW="350" imgH="35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859FDB0-485A-4EA0-887F-D1846EE814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6860" y="7013"/>
                        <a:ext cx="6863" cy="70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28727960" y="29013332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  <p:sp>
        <p:nvSpPr>
          <p:cNvPr id="1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  <a:endParaRPr lang="en-GB"/>
          </a:p>
        </p:txBody>
      </p:sp>
      <p:sp>
        <p:nvSpPr>
          <p:cNvPr id="6" name="Rechteck 12">
            <a:extLst>
              <a:ext uri="{FF2B5EF4-FFF2-40B4-BE49-F238E27FC236}">
                <a16:creationId xmlns:a16="http://schemas.microsoft.com/office/drawing/2014/main" id="{9E899916-B2E2-4C53-813A-CE5AB56875B5}"/>
              </a:ext>
            </a:extLst>
          </p:cNvPr>
          <p:cNvSpPr>
            <a:spLocks noChangeArrowheads="1"/>
          </p:cNvSpPr>
          <p:nvPr userDrawn="1"/>
        </p:nvSpPr>
        <p:spPr bwMode="hidden">
          <a:xfrm>
            <a:off x="838920" y="720484"/>
            <a:ext cx="41143966" cy="4009412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de-CH" sz="2034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6841C0-57AD-4613-AF97-70897D3756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16617" y="6515698"/>
            <a:ext cx="40217658" cy="206460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/>
              <a:t>Edit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F1A53D24-7C78-4BAC-A0F2-BF75BD52D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CH"/>
              <a:t>Titelmasterformat durch Klicken bearbeiten</a:t>
            </a:r>
          </a:p>
        </p:txBody>
      </p:sp>
      <p:pic>
        <p:nvPicPr>
          <p:cNvPr id="10" name="Grafik 4">
            <a:extLst>
              <a:ext uri="{FF2B5EF4-FFF2-40B4-BE49-F238E27FC236}">
                <a16:creationId xmlns:a16="http://schemas.microsoft.com/office/drawing/2014/main" id="{AD97BFB5-4B26-4B84-8A94-6FA339DA46AC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6802" y="28305557"/>
            <a:ext cx="5577473" cy="99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408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2" r:id="rId15"/>
    <p:sldLayoutId id="2147483682" r:id="rId16"/>
    <p:sldLayoutId id="2147483672" r:id="rId17"/>
    <p:sldLayoutId id="2147483676" r:id="rId18"/>
    <p:sldLayoutId id="2147483677" r:id="rId19"/>
    <p:sldLayoutId id="2147483678" r:id="rId20"/>
    <p:sldLayoutId id="2147483679" r:id="rId21"/>
    <p:sldLayoutId id="2147483693" r:id="rId22"/>
    <p:sldLayoutId id="2147483694" r:id="rId23"/>
    <p:sldLayoutId id="2147483695" r:id="rId24"/>
  </p:sldLayoutIdLst>
  <p:hf hdr="0"/>
  <p:txStyles>
    <p:titleStyle>
      <a:lvl1pPr algn="l" defTabSz="775382" rtl="0" eaLnBrk="1" latinLnBrk="0" hangingPunct="1">
        <a:spcBef>
          <a:spcPct val="0"/>
        </a:spcBef>
        <a:buNone/>
        <a:defRPr sz="2588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68748" indent="-268748" algn="l" defTabSz="775382" rtl="0" eaLnBrk="1" latinLnBrk="0" hangingPunct="1">
        <a:lnSpc>
          <a:spcPct val="120000"/>
        </a:lnSpc>
        <a:spcBef>
          <a:spcPts val="0"/>
        </a:spcBef>
        <a:buFont typeface="Symbol" pitchFamily="18" charset="2"/>
        <a:buChar char="-"/>
        <a:tabLst/>
        <a:defRPr sz="1593" kern="1200">
          <a:solidFill>
            <a:srgbClr val="012C59"/>
          </a:solidFill>
          <a:latin typeface="Arial" pitchFamily="34" charset="0"/>
          <a:ea typeface="+mn-ea"/>
          <a:cs typeface="Arial" pitchFamily="34" charset="0"/>
        </a:defRPr>
      </a:lvl1pPr>
      <a:lvl2pPr marL="537497" indent="-268748" algn="l" defTabSz="775382" rtl="0" eaLnBrk="1" latinLnBrk="0" hangingPunct="1">
        <a:lnSpc>
          <a:spcPct val="120000"/>
        </a:lnSpc>
        <a:spcBef>
          <a:spcPts val="0"/>
        </a:spcBef>
        <a:buFont typeface="Symbol" pitchFamily="18" charset="2"/>
        <a:buChar char="-"/>
        <a:tabLst/>
        <a:defRPr sz="1393" kern="1200">
          <a:solidFill>
            <a:srgbClr val="002C59"/>
          </a:solidFill>
          <a:latin typeface="+mn-lt"/>
          <a:ea typeface="+mn-ea"/>
          <a:cs typeface="Arial" pitchFamily="34" charset="0"/>
        </a:defRPr>
      </a:lvl2pPr>
      <a:lvl3pPr marL="806246" indent="-268748" algn="l" defTabSz="775382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"/>
        <a:defRPr sz="1393" kern="1200">
          <a:solidFill>
            <a:srgbClr val="002C59"/>
          </a:solidFill>
          <a:latin typeface="+mn-lt"/>
          <a:ea typeface="+mn-ea"/>
          <a:cs typeface="Arial" pitchFamily="34" charset="0"/>
        </a:defRPr>
      </a:lvl3pPr>
      <a:lvl4pPr marL="1074994" indent="-268748" algn="l" defTabSz="775382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"/>
        <a:defRPr sz="1393" kern="1200">
          <a:solidFill>
            <a:schemeClr val="tx1"/>
          </a:solidFill>
          <a:latin typeface="+mn-lt"/>
          <a:ea typeface="+mn-ea"/>
          <a:cs typeface="+mn-cs"/>
        </a:defRPr>
      </a:lvl4pPr>
      <a:lvl5pPr marL="1343743" indent="-268748" algn="l" defTabSz="775382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"/>
        <a:defRPr sz="1393" kern="1200">
          <a:solidFill>
            <a:schemeClr val="tx1"/>
          </a:solidFill>
          <a:latin typeface="+mn-lt"/>
          <a:ea typeface="+mn-ea"/>
          <a:cs typeface="+mn-cs"/>
        </a:defRPr>
      </a:lvl5pPr>
      <a:lvl6pPr marL="2132303" indent="-193846" algn="l" defTabSz="775382" rtl="0" eaLnBrk="1" latinLnBrk="0" hangingPunct="1">
        <a:spcBef>
          <a:spcPct val="20000"/>
        </a:spcBef>
        <a:buFont typeface="Arial" pitchFamily="34" charset="0"/>
        <a:buChar char="•"/>
        <a:defRPr sz="1692" kern="1200">
          <a:solidFill>
            <a:schemeClr val="tx1"/>
          </a:solidFill>
          <a:latin typeface="+mn-lt"/>
          <a:ea typeface="+mn-ea"/>
          <a:cs typeface="+mn-cs"/>
        </a:defRPr>
      </a:lvl6pPr>
      <a:lvl7pPr marL="2519993" indent="-193846" algn="l" defTabSz="775382" rtl="0" eaLnBrk="1" latinLnBrk="0" hangingPunct="1">
        <a:spcBef>
          <a:spcPct val="20000"/>
        </a:spcBef>
        <a:buFont typeface="Arial" pitchFamily="34" charset="0"/>
        <a:buChar char="•"/>
        <a:defRPr sz="1692" kern="1200">
          <a:solidFill>
            <a:schemeClr val="tx1"/>
          </a:solidFill>
          <a:latin typeface="+mn-lt"/>
          <a:ea typeface="+mn-ea"/>
          <a:cs typeface="+mn-cs"/>
        </a:defRPr>
      </a:lvl7pPr>
      <a:lvl8pPr marL="2907684" indent="-193846" algn="l" defTabSz="775382" rtl="0" eaLnBrk="1" latinLnBrk="0" hangingPunct="1">
        <a:spcBef>
          <a:spcPct val="20000"/>
        </a:spcBef>
        <a:buFont typeface="Arial" pitchFamily="34" charset="0"/>
        <a:buChar char="•"/>
        <a:defRPr sz="1692" kern="1200">
          <a:solidFill>
            <a:schemeClr val="tx1"/>
          </a:solidFill>
          <a:latin typeface="+mn-lt"/>
          <a:ea typeface="+mn-ea"/>
          <a:cs typeface="+mn-cs"/>
        </a:defRPr>
      </a:lvl8pPr>
      <a:lvl9pPr marL="3295377" indent="-193846" algn="l" defTabSz="775382" rtl="0" eaLnBrk="1" latinLnBrk="0" hangingPunct="1">
        <a:spcBef>
          <a:spcPct val="20000"/>
        </a:spcBef>
        <a:buFont typeface="Arial" pitchFamily="34" charset="0"/>
        <a:buChar char="•"/>
        <a:defRPr sz="16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1pPr>
      <a:lvl2pPr marL="387691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2pPr>
      <a:lvl3pPr marL="775382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3pPr>
      <a:lvl4pPr marL="1163073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4pPr>
      <a:lvl5pPr marL="1550765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5pPr>
      <a:lvl6pPr marL="1938455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6pPr>
      <a:lvl7pPr marL="2326148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7pPr>
      <a:lvl8pPr marL="2713839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8pPr>
      <a:lvl9pPr marL="3101531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04" userDrawn="1">
          <p15:clr>
            <a:srgbClr val="F26B43"/>
          </p15:clr>
        </p15:guide>
        <p15:guide id="2" pos="4412" userDrawn="1">
          <p15:clr>
            <a:srgbClr val="F26B43"/>
          </p15:clr>
        </p15:guide>
        <p15:guide id="3" pos="108805" userDrawn="1">
          <p15:clr>
            <a:srgbClr val="F26B43"/>
          </p15:clr>
        </p15:guide>
        <p15:guide id="4" pos="110129" userDrawn="1">
          <p15:clr>
            <a:srgbClr val="F26B43"/>
          </p15:clr>
        </p15:guide>
        <p15:guide id="5" orient="horz" pos="18113" userDrawn="1">
          <p15:clr>
            <a:srgbClr val="F26B43"/>
          </p15:clr>
        </p15:guide>
        <p15:guide id="6" orient="horz" pos="76131" userDrawn="1">
          <p15:clr>
            <a:srgbClr val="F26B43"/>
          </p15:clr>
        </p15:guide>
        <p15:guide id="7" orient="horz" pos="20527" userDrawn="1">
          <p15:clr>
            <a:srgbClr val="5ACBF0"/>
          </p15:clr>
        </p15:guide>
        <p15:guide id="8" orient="horz" pos="560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3C482D5-74A9-4DA4-AB8C-6F41A8DA8F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244574164"/>
              </p:ext>
            </p:extLst>
          </p:nvPr>
        </p:nvGraphicFramePr>
        <p:xfrm>
          <a:off x="6860" y="7013"/>
          <a:ext cx="6863" cy="70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50" imgH="350" progId="TCLayout.ActiveDocument.1">
                  <p:embed/>
                </p:oleObj>
              </mc:Choice>
              <mc:Fallback>
                <p:oleObj name="think-cell Folie" r:id="rId28" imgW="350" imgH="35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3C482D5-74A9-4DA4-AB8C-6F41A8DA8F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6860" y="7013"/>
                        <a:ext cx="6863" cy="70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0084957" y="29013332"/>
            <a:ext cx="13560455" cy="1377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9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>
                <a:solidFill>
                  <a:srgbClr val="012C59"/>
                </a:solidFill>
              </a:rPr>
              <a:t>Freies Feld für Dokumentbezeichnung</a:t>
            </a:r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2"/>
          </p:nvPr>
        </p:nvSpPr>
        <p:spPr>
          <a:xfrm>
            <a:off x="1716619" y="29013332"/>
            <a:ext cx="6052265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r>
              <a:rPr lang="en-US"/>
              <a:t>8.1.2018</a:t>
            </a:r>
            <a:endParaRPr lang="en-GB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6841C0-57AD-4613-AF97-70897D3756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16617" y="6515698"/>
            <a:ext cx="40217658" cy="206460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/>
              <a:t>Edit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F1A53D24-7C78-4BAC-A0F2-BF75BD52D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6619" y="1041896"/>
            <a:ext cx="39555063" cy="33665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CH"/>
              <a:t>Titelmasterformat durch Klicken bearbeiten</a:t>
            </a:r>
          </a:p>
        </p:txBody>
      </p:sp>
      <p:pic>
        <p:nvPicPr>
          <p:cNvPr id="10" name="Grafik 4">
            <a:extLst>
              <a:ext uri="{FF2B5EF4-FFF2-40B4-BE49-F238E27FC236}">
                <a16:creationId xmlns:a16="http://schemas.microsoft.com/office/drawing/2014/main" id="{AD97BFB5-4B26-4B84-8A94-6FA339DA46AC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6802" y="28305557"/>
            <a:ext cx="5577473" cy="992336"/>
          </a:xfrm>
          <a:prstGeom prst="rect">
            <a:avLst/>
          </a:prstGeom>
        </p:spPr>
      </p:pic>
      <p:sp>
        <p:nvSpPr>
          <p:cNvPr id="8" name="Foliennummernplatzhalter 6">
            <a:extLst>
              <a:ext uri="{FF2B5EF4-FFF2-40B4-BE49-F238E27FC236}">
                <a16:creationId xmlns:a16="http://schemas.microsoft.com/office/drawing/2014/main" id="{9FAC03BE-EE4C-4D49-86AF-D8D71A6B7A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230092" y="29650915"/>
            <a:ext cx="3329728" cy="1377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895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en-GB" smtClean="0"/>
              <a:pPr algn="r"/>
              <a:t>‹Nr.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6309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38" r:id="rId25"/>
  </p:sldLayoutIdLst>
  <p:hf hdr="0"/>
  <p:txStyles>
    <p:titleStyle>
      <a:lvl1pPr algn="l" defTabSz="775382" rtl="0" eaLnBrk="1" latinLnBrk="0" hangingPunct="1">
        <a:spcBef>
          <a:spcPct val="0"/>
        </a:spcBef>
        <a:buNone/>
        <a:defRPr sz="2588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68748" indent="-268748" algn="l" defTabSz="775382" rtl="0" eaLnBrk="1" latinLnBrk="0" hangingPunct="1">
        <a:lnSpc>
          <a:spcPct val="120000"/>
        </a:lnSpc>
        <a:spcBef>
          <a:spcPts val="0"/>
        </a:spcBef>
        <a:buFont typeface="Symbol" pitchFamily="18" charset="2"/>
        <a:buChar char="-"/>
        <a:tabLst/>
        <a:defRPr sz="1593" kern="1200">
          <a:solidFill>
            <a:srgbClr val="012C59"/>
          </a:solidFill>
          <a:latin typeface="Arial" pitchFamily="34" charset="0"/>
          <a:ea typeface="+mn-ea"/>
          <a:cs typeface="Arial" pitchFamily="34" charset="0"/>
        </a:defRPr>
      </a:lvl1pPr>
      <a:lvl2pPr marL="537497" indent="-268748" algn="l" defTabSz="775382" rtl="0" eaLnBrk="1" latinLnBrk="0" hangingPunct="1">
        <a:lnSpc>
          <a:spcPct val="120000"/>
        </a:lnSpc>
        <a:spcBef>
          <a:spcPts val="0"/>
        </a:spcBef>
        <a:buFont typeface="Symbol" pitchFamily="18" charset="2"/>
        <a:buChar char="-"/>
        <a:tabLst/>
        <a:defRPr sz="1393" kern="1200">
          <a:solidFill>
            <a:srgbClr val="002C59"/>
          </a:solidFill>
          <a:latin typeface="+mn-lt"/>
          <a:ea typeface="+mn-ea"/>
          <a:cs typeface="Arial" pitchFamily="34" charset="0"/>
        </a:defRPr>
      </a:lvl2pPr>
      <a:lvl3pPr marL="806246" indent="-268748" algn="l" defTabSz="775382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"/>
        <a:defRPr sz="1393" kern="1200">
          <a:solidFill>
            <a:srgbClr val="002C59"/>
          </a:solidFill>
          <a:latin typeface="+mn-lt"/>
          <a:ea typeface="+mn-ea"/>
          <a:cs typeface="Arial" pitchFamily="34" charset="0"/>
        </a:defRPr>
      </a:lvl3pPr>
      <a:lvl4pPr marL="1074994" indent="-268748" algn="l" defTabSz="775382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"/>
        <a:defRPr sz="1393" kern="1200">
          <a:solidFill>
            <a:schemeClr val="tx1"/>
          </a:solidFill>
          <a:latin typeface="+mn-lt"/>
          <a:ea typeface="+mn-ea"/>
          <a:cs typeface="+mn-cs"/>
        </a:defRPr>
      </a:lvl4pPr>
      <a:lvl5pPr marL="1343743" indent="-268748" algn="l" defTabSz="775382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"/>
        <a:defRPr sz="1393" kern="1200">
          <a:solidFill>
            <a:schemeClr val="tx1"/>
          </a:solidFill>
          <a:latin typeface="+mn-lt"/>
          <a:ea typeface="+mn-ea"/>
          <a:cs typeface="+mn-cs"/>
        </a:defRPr>
      </a:lvl5pPr>
      <a:lvl6pPr marL="2132303" indent="-193846" algn="l" defTabSz="775382" rtl="0" eaLnBrk="1" latinLnBrk="0" hangingPunct="1">
        <a:spcBef>
          <a:spcPct val="20000"/>
        </a:spcBef>
        <a:buFont typeface="Arial" pitchFamily="34" charset="0"/>
        <a:buChar char="•"/>
        <a:defRPr sz="1692" kern="1200">
          <a:solidFill>
            <a:schemeClr val="tx1"/>
          </a:solidFill>
          <a:latin typeface="+mn-lt"/>
          <a:ea typeface="+mn-ea"/>
          <a:cs typeface="+mn-cs"/>
        </a:defRPr>
      </a:lvl6pPr>
      <a:lvl7pPr marL="2519993" indent="-193846" algn="l" defTabSz="775382" rtl="0" eaLnBrk="1" latinLnBrk="0" hangingPunct="1">
        <a:spcBef>
          <a:spcPct val="20000"/>
        </a:spcBef>
        <a:buFont typeface="Arial" pitchFamily="34" charset="0"/>
        <a:buChar char="•"/>
        <a:defRPr sz="1692" kern="1200">
          <a:solidFill>
            <a:schemeClr val="tx1"/>
          </a:solidFill>
          <a:latin typeface="+mn-lt"/>
          <a:ea typeface="+mn-ea"/>
          <a:cs typeface="+mn-cs"/>
        </a:defRPr>
      </a:lvl7pPr>
      <a:lvl8pPr marL="2907684" indent="-193846" algn="l" defTabSz="775382" rtl="0" eaLnBrk="1" latinLnBrk="0" hangingPunct="1">
        <a:spcBef>
          <a:spcPct val="20000"/>
        </a:spcBef>
        <a:buFont typeface="Arial" pitchFamily="34" charset="0"/>
        <a:buChar char="•"/>
        <a:defRPr sz="1692" kern="1200">
          <a:solidFill>
            <a:schemeClr val="tx1"/>
          </a:solidFill>
          <a:latin typeface="+mn-lt"/>
          <a:ea typeface="+mn-ea"/>
          <a:cs typeface="+mn-cs"/>
        </a:defRPr>
      </a:lvl8pPr>
      <a:lvl9pPr marL="3295377" indent="-193846" algn="l" defTabSz="775382" rtl="0" eaLnBrk="1" latinLnBrk="0" hangingPunct="1">
        <a:spcBef>
          <a:spcPct val="20000"/>
        </a:spcBef>
        <a:buFont typeface="Arial" pitchFamily="34" charset="0"/>
        <a:buChar char="•"/>
        <a:defRPr sz="16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1pPr>
      <a:lvl2pPr marL="387691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2pPr>
      <a:lvl3pPr marL="775382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3pPr>
      <a:lvl4pPr marL="1163073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4pPr>
      <a:lvl5pPr marL="1550765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5pPr>
      <a:lvl6pPr marL="1938455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6pPr>
      <a:lvl7pPr marL="2326148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7pPr>
      <a:lvl8pPr marL="2713839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8pPr>
      <a:lvl9pPr marL="3101531" algn="l" defTabSz="775382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04" userDrawn="1">
          <p15:clr>
            <a:srgbClr val="F26B43"/>
          </p15:clr>
        </p15:guide>
        <p15:guide id="2" pos="4412" userDrawn="1">
          <p15:clr>
            <a:srgbClr val="F26B43"/>
          </p15:clr>
        </p15:guide>
        <p15:guide id="3" pos="108805" userDrawn="1">
          <p15:clr>
            <a:srgbClr val="F26B43"/>
          </p15:clr>
        </p15:guide>
        <p15:guide id="4" pos="110129" userDrawn="1">
          <p15:clr>
            <a:srgbClr val="F26B43"/>
          </p15:clr>
        </p15:guide>
        <p15:guide id="5" orient="horz" pos="18113" userDrawn="1">
          <p15:clr>
            <a:srgbClr val="F26B43"/>
          </p15:clr>
        </p15:guide>
        <p15:guide id="6" orient="horz" pos="76131" userDrawn="1">
          <p15:clr>
            <a:srgbClr val="F26B43"/>
          </p15:clr>
        </p15:guide>
        <p15:guide id="7" orient="horz" pos="20527" userDrawn="1">
          <p15:clr>
            <a:srgbClr val="5ACBF0"/>
          </p15:clr>
        </p15:guide>
        <p15:guide id="8" orient="horz" pos="560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18" Type="http://schemas.openxmlformats.org/officeDocument/2006/relationships/image" Target="../media/image26.png"/><Relationship Id="rId26" Type="http://schemas.openxmlformats.org/officeDocument/2006/relationships/image" Target="../media/image34.png"/><Relationship Id="rId3" Type="http://schemas.openxmlformats.org/officeDocument/2006/relationships/image" Target="../media/image11.svg"/><Relationship Id="rId21" Type="http://schemas.openxmlformats.org/officeDocument/2006/relationships/image" Target="../media/image29.svg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5" Type="http://schemas.openxmlformats.org/officeDocument/2006/relationships/image" Target="../media/image33.svg"/><Relationship Id="rId2" Type="http://schemas.openxmlformats.org/officeDocument/2006/relationships/image" Target="../media/image10.png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29" Type="http://schemas.openxmlformats.org/officeDocument/2006/relationships/image" Target="../media/image36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24" Type="http://schemas.openxmlformats.org/officeDocument/2006/relationships/image" Target="../media/image32.png"/><Relationship Id="rId5" Type="http://schemas.openxmlformats.org/officeDocument/2006/relationships/image" Target="../media/image13.svg"/><Relationship Id="rId15" Type="http://schemas.openxmlformats.org/officeDocument/2006/relationships/image" Target="../media/image23.svg"/><Relationship Id="rId23" Type="http://schemas.openxmlformats.org/officeDocument/2006/relationships/image" Target="../media/image31.svg"/><Relationship Id="rId28" Type="http://schemas.openxmlformats.org/officeDocument/2006/relationships/customXml" Target="../ink/ink1.xml"/><Relationship Id="rId10" Type="http://schemas.openxmlformats.org/officeDocument/2006/relationships/image" Target="../media/image18.png"/><Relationship Id="rId19" Type="http://schemas.openxmlformats.org/officeDocument/2006/relationships/image" Target="../media/image27.svg"/><Relationship Id="rId31" Type="http://schemas.openxmlformats.org/officeDocument/2006/relationships/image" Target="../media/image38.svg"/><Relationship Id="rId4" Type="http://schemas.openxmlformats.org/officeDocument/2006/relationships/image" Target="../media/image12.png"/><Relationship Id="rId9" Type="http://schemas.openxmlformats.org/officeDocument/2006/relationships/image" Target="../media/image17.svg"/><Relationship Id="rId14" Type="http://schemas.openxmlformats.org/officeDocument/2006/relationships/image" Target="../media/image22.png"/><Relationship Id="rId22" Type="http://schemas.openxmlformats.org/officeDocument/2006/relationships/image" Target="../media/image30.png"/><Relationship Id="rId27" Type="http://schemas.openxmlformats.org/officeDocument/2006/relationships/image" Target="../media/image35.svg"/><Relationship Id="rId30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30.png"/><Relationship Id="rId3" Type="http://schemas.openxmlformats.org/officeDocument/2006/relationships/customXml" Target="../ink/ink2.xml"/><Relationship Id="rId7" Type="http://schemas.openxmlformats.org/officeDocument/2006/relationships/image" Target="../media/image34.png"/><Relationship Id="rId12" Type="http://schemas.openxmlformats.org/officeDocument/2006/relationships/image" Target="../media/image27.svg"/><Relationship Id="rId17" Type="http://schemas.openxmlformats.org/officeDocument/2006/relationships/image" Target="../media/image39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1.sv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8.svg"/><Relationship Id="rId11" Type="http://schemas.openxmlformats.org/officeDocument/2006/relationships/image" Target="../media/image26.png"/><Relationship Id="rId5" Type="http://schemas.openxmlformats.org/officeDocument/2006/relationships/image" Target="../media/image37.png"/><Relationship Id="rId15" Type="http://schemas.openxmlformats.org/officeDocument/2006/relationships/image" Target="../media/image10.png"/><Relationship Id="rId10" Type="http://schemas.openxmlformats.org/officeDocument/2006/relationships/image" Target="../media/image25.svg"/><Relationship Id="rId4" Type="http://schemas.openxmlformats.org/officeDocument/2006/relationships/image" Target="../media/image36.png"/><Relationship Id="rId9" Type="http://schemas.openxmlformats.org/officeDocument/2006/relationships/image" Target="../media/image24.png"/><Relationship Id="rId14" Type="http://schemas.openxmlformats.org/officeDocument/2006/relationships/image" Target="../media/image3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dpi.com/2076-3417/13/6/3511/pdf" TargetMode="External"/><Relationship Id="rId2" Type="http://schemas.openxmlformats.org/officeDocument/2006/relationships/hyperlink" Target="https://www.mdpi.com/2076-3417/13/6/3511" TargetMode="External"/><Relationship Id="rId1" Type="http://schemas.openxmlformats.org/officeDocument/2006/relationships/slideLayout" Target="../slideLayouts/slideLayout49.xml"/><Relationship Id="rId6" Type="http://schemas.openxmlformats.org/officeDocument/2006/relationships/hyperlink" Target="https://www.linkedin.com/in/linard-barth-9b8354173/" TargetMode="External"/><Relationship Id="rId5" Type="http://schemas.openxmlformats.org/officeDocument/2006/relationships/hyperlink" Target="mailto:Linard.Barth@zhaw.ch" TargetMode="External"/><Relationship Id="rId4" Type="http://schemas.openxmlformats.org/officeDocument/2006/relationships/hyperlink" Target="https://doi.org/10.3390/app1306351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Rechteck 130">
            <a:extLst>
              <a:ext uri="{FF2B5EF4-FFF2-40B4-BE49-F238E27FC236}">
                <a16:creationId xmlns:a16="http://schemas.microsoft.com/office/drawing/2014/main" id="{2611D40D-C331-4A65-91B5-3B679073B81A}"/>
              </a:ext>
            </a:extLst>
          </p:cNvPr>
          <p:cNvSpPr/>
          <p:nvPr/>
        </p:nvSpPr>
        <p:spPr bwMode="auto">
          <a:xfrm>
            <a:off x="2184430" y="3816387"/>
            <a:ext cx="39977833" cy="2149073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  <a:prstDash val="solid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6914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C53BF388-5199-45CD-B083-20657CE9A072}"/>
              </a:ext>
            </a:extLst>
          </p:cNvPr>
          <p:cNvSpPr/>
          <p:nvPr/>
        </p:nvSpPr>
        <p:spPr bwMode="auto">
          <a:xfrm>
            <a:off x="1250988" y="4637134"/>
            <a:ext cx="39977833" cy="214907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noFill/>
            <a:prstDash val="solid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5185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06E9120-B4B3-4419-94CE-E017BB3D4B6F}"/>
              </a:ext>
            </a:extLst>
          </p:cNvPr>
          <p:cNvSpPr/>
          <p:nvPr/>
        </p:nvSpPr>
        <p:spPr bwMode="auto">
          <a:xfrm>
            <a:off x="3766415" y="6293194"/>
            <a:ext cx="26444481" cy="7311121"/>
          </a:xfrm>
          <a:prstGeom prst="rect">
            <a:avLst/>
          </a:prstGeom>
          <a:solidFill>
            <a:srgbClr val="98B5DC"/>
          </a:solidFill>
          <a:ln w="3175">
            <a:noFill/>
            <a:prstDash val="solid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6914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24EF82E-066F-44A3-B63E-F58AE95DCB7A}"/>
              </a:ext>
            </a:extLst>
          </p:cNvPr>
          <p:cNvSpPr/>
          <p:nvPr/>
        </p:nvSpPr>
        <p:spPr bwMode="auto">
          <a:xfrm>
            <a:off x="2938785" y="7106785"/>
            <a:ext cx="26444481" cy="731112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noFill/>
            <a:prstDash val="solid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6914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E4CC50B-FCA2-42EB-9B3B-139B12E41189}"/>
              </a:ext>
            </a:extLst>
          </p:cNvPr>
          <p:cNvSpPr/>
          <p:nvPr/>
        </p:nvSpPr>
        <p:spPr bwMode="auto">
          <a:xfrm>
            <a:off x="2027043" y="7956614"/>
            <a:ext cx="26444481" cy="731212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  <a:prstDash val="solid"/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6914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BE3EFFF-53B0-46F7-B98E-7DE111FD355F}"/>
              </a:ext>
            </a:extLst>
          </p:cNvPr>
          <p:cNvSpPr/>
          <p:nvPr/>
        </p:nvSpPr>
        <p:spPr bwMode="auto">
          <a:xfrm>
            <a:off x="19672207" y="12555325"/>
            <a:ext cx="7985460" cy="1244446"/>
          </a:xfrm>
          <a:prstGeom prst="rect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duct</a:t>
            </a:r>
            <a:endParaRPr lang="de-CH" sz="432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DF4BC681-10B6-4689-BD87-B749E8E9E05C}"/>
              </a:ext>
            </a:extLst>
          </p:cNvPr>
          <p:cNvSpPr/>
          <p:nvPr/>
        </p:nvSpPr>
        <p:spPr bwMode="auto">
          <a:xfrm>
            <a:off x="19658623" y="11215601"/>
            <a:ext cx="7995999" cy="1244446"/>
          </a:xfrm>
          <a:prstGeom prst="rect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ustomer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308FD0F-AEF2-4208-8F21-0CFD387EC67B}"/>
              </a:ext>
            </a:extLst>
          </p:cNvPr>
          <p:cNvSpPr/>
          <p:nvPr/>
        </p:nvSpPr>
        <p:spPr bwMode="auto">
          <a:xfrm>
            <a:off x="19658623" y="9893973"/>
            <a:ext cx="7995999" cy="1244446"/>
          </a:xfrm>
          <a:prstGeom prst="rect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ntext</a:t>
            </a:r>
            <a:endParaRPr lang="de-CH" sz="432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F9A00B8-979E-465A-A0A0-08489F08DEB2}"/>
              </a:ext>
            </a:extLst>
          </p:cNvPr>
          <p:cNvSpPr/>
          <p:nvPr/>
        </p:nvSpPr>
        <p:spPr bwMode="auto">
          <a:xfrm>
            <a:off x="33899964" y="10404407"/>
            <a:ext cx="6403501" cy="7985205"/>
          </a:xfrm>
          <a:prstGeom prst="rect">
            <a:avLst/>
          </a:prstGeom>
          <a:solidFill>
            <a:srgbClr val="F9F4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934404"/>
            <a:endParaRPr lang="de-CH" sz="7618" kern="0">
              <a:solidFill>
                <a:prstClr val="white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483E73A6-3DFB-4BF0-B349-D1762E163548}"/>
              </a:ext>
            </a:extLst>
          </p:cNvPr>
          <p:cNvSpPr/>
          <p:nvPr/>
        </p:nvSpPr>
        <p:spPr bwMode="auto">
          <a:xfrm>
            <a:off x="2005185" y="19178066"/>
            <a:ext cx="38349229" cy="6642849"/>
          </a:xfrm>
          <a:prstGeom prst="rect">
            <a:avLst/>
          </a:prstGeom>
          <a:solidFill>
            <a:srgbClr val="F9F4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934404"/>
            <a:endParaRPr lang="de-CH" sz="7618" kern="0">
              <a:solidFill>
                <a:prstClr val="white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871A6A24-3280-40EC-92D6-0922D5A9696F}"/>
              </a:ext>
            </a:extLst>
          </p:cNvPr>
          <p:cNvSpPr/>
          <p:nvPr/>
        </p:nvSpPr>
        <p:spPr bwMode="auto">
          <a:xfrm>
            <a:off x="2500673" y="19789984"/>
            <a:ext cx="25880310" cy="5341547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5185" b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 </a:t>
            </a:r>
            <a:r>
              <a:rPr lang="de-CH" sz="5185" b="1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of</a:t>
            </a:r>
            <a:r>
              <a:rPr lang="de-CH" sz="5185" b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System A</a:t>
            </a: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B5882F97-B052-470B-BE40-BD385DB731C1}"/>
              </a:ext>
            </a:extLst>
          </p:cNvPr>
          <p:cNvSpPr/>
          <p:nvPr/>
        </p:nvSpPr>
        <p:spPr bwMode="auto">
          <a:xfrm>
            <a:off x="2510198" y="19803831"/>
            <a:ext cx="25870774" cy="1198557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 of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s</a:t>
            </a:r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A</a:t>
            </a: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3438EEA-DCBC-48EC-BECE-F93F08B86F03}"/>
              </a:ext>
            </a:extLst>
          </p:cNvPr>
          <p:cNvSpPr/>
          <p:nvPr/>
        </p:nvSpPr>
        <p:spPr bwMode="auto">
          <a:xfrm>
            <a:off x="20729567" y="21359016"/>
            <a:ext cx="7041330" cy="1198557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892B247-CB43-4C06-B1DB-9CB72E53810E}"/>
              </a:ext>
            </a:extLst>
          </p:cNvPr>
          <p:cNvSpPr/>
          <p:nvPr/>
        </p:nvSpPr>
        <p:spPr bwMode="auto">
          <a:xfrm>
            <a:off x="3007100" y="21346183"/>
            <a:ext cx="17356971" cy="1198557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6034E41-71B8-43D1-907C-F4ECF1F87112}"/>
              </a:ext>
            </a:extLst>
          </p:cNvPr>
          <p:cNvSpPr/>
          <p:nvPr/>
        </p:nvSpPr>
        <p:spPr bwMode="auto">
          <a:xfrm>
            <a:off x="3007111" y="21341393"/>
            <a:ext cx="17355871" cy="3496846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32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 a 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8505359-E607-4C90-8C6C-83FF768CD4D9}"/>
              </a:ext>
            </a:extLst>
          </p:cNvPr>
          <p:cNvSpPr/>
          <p:nvPr/>
        </p:nvSpPr>
        <p:spPr bwMode="auto">
          <a:xfrm>
            <a:off x="20724375" y="21341393"/>
            <a:ext cx="7046521" cy="3496846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r>
              <a:rPr lang="de-CH" sz="432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 b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5D663F0-6D70-4556-99FB-930753679562}"/>
              </a:ext>
            </a:extLst>
          </p:cNvPr>
          <p:cNvSpPr/>
          <p:nvPr/>
        </p:nvSpPr>
        <p:spPr bwMode="auto">
          <a:xfrm>
            <a:off x="11833818" y="10843161"/>
            <a:ext cx="5600630" cy="2984571"/>
          </a:xfrm>
          <a:prstGeom prst="rect">
            <a:avLst/>
          </a:prstGeom>
          <a:gradFill>
            <a:gsLst>
              <a:gs pos="0">
                <a:srgbClr val="F9F499"/>
              </a:gs>
              <a:gs pos="41000">
                <a:schemeClr val="accent1"/>
              </a:gs>
            </a:gsLst>
            <a:lin ang="5400000" scaled="1"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753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mart Analysis</a:t>
            </a:r>
          </a:p>
        </p:txBody>
      </p:sp>
      <p:sp>
        <p:nvSpPr>
          <p:cNvPr id="57" name="Pfeil: Chevron 56">
            <a:extLst>
              <a:ext uri="{FF2B5EF4-FFF2-40B4-BE49-F238E27FC236}">
                <a16:creationId xmlns:a16="http://schemas.microsoft.com/office/drawing/2014/main" id="{676F4EA2-7388-453B-8B16-104581194180}"/>
              </a:ext>
            </a:extLst>
          </p:cNvPr>
          <p:cNvSpPr/>
          <p:nvPr/>
        </p:nvSpPr>
        <p:spPr bwMode="auto">
          <a:xfrm rot="10800000">
            <a:off x="13444419" y="9854999"/>
            <a:ext cx="2367019" cy="993107"/>
          </a:xfrm>
          <a:prstGeom prst="chevron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BA41DA48-D614-47B5-9A35-CCEDD440BAEA}"/>
              </a:ext>
            </a:extLst>
          </p:cNvPr>
          <p:cNvSpPr txBox="1"/>
          <p:nvPr/>
        </p:nvSpPr>
        <p:spPr>
          <a:xfrm>
            <a:off x="13837847" y="9800042"/>
            <a:ext cx="1966311" cy="102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025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uc-tured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5C73B0BB-693C-4254-AB40-0FC2ECC95744}"/>
              </a:ext>
            </a:extLst>
          </p:cNvPr>
          <p:cNvSpPr/>
          <p:nvPr/>
        </p:nvSpPr>
        <p:spPr bwMode="auto">
          <a:xfrm>
            <a:off x="12159846" y="12830870"/>
            <a:ext cx="2177781" cy="62222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3025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odels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70D6DDF-390C-4AFA-B1C4-1239AD36EB5A}"/>
              </a:ext>
            </a:extLst>
          </p:cNvPr>
          <p:cNvSpPr/>
          <p:nvPr/>
        </p:nvSpPr>
        <p:spPr bwMode="auto">
          <a:xfrm>
            <a:off x="14925567" y="11921344"/>
            <a:ext cx="2177781" cy="62222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3025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lgorithms</a:t>
            </a:r>
            <a:endParaRPr lang="de-CH" sz="3025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2887F78-66A1-46F0-B259-63501CB5C35C}"/>
              </a:ext>
            </a:extLst>
          </p:cNvPr>
          <p:cNvSpPr/>
          <p:nvPr/>
        </p:nvSpPr>
        <p:spPr bwMode="auto">
          <a:xfrm>
            <a:off x="14914540" y="12837745"/>
            <a:ext cx="2177781" cy="62222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3025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ules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CE44A04-8665-4986-9E37-6E42746EDD73}"/>
              </a:ext>
            </a:extLst>
          </p:cNvPr>
          <p:cNvSpPr/>
          <p:nvPr/>
        </p:nvSpPr>
        <p:spPr bwMode="auto">
          <a:xfrm>
            <a:off x="12137969" y="11926417"/>
            <a:ext cx="2177781" cy="62222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3025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ools</a:t>
            </a:r>
          </a:p>
        </p:txBody>
      </p:sp>
      <p:sp>
        <p:nvSpPr>
          <p:cNvPr id="142" name="Pfeil: Chevron 141">
            <a:extLst>
              <a:ext uri="{FF2B5EF4-FFF2-40B4-BE49-F238E27FC236}">
                <a16:creationId xmlns:a16="http://schemas.microsoft.com/office/drawing/2014/main" id="{B623B52E-85E2-4FE1-AA58-187095F7DB33}"/>
              </a:ext>
            </a:extLst>
          </p:cNvPr>
          <p:cNvSpPr/>
          <p:nvPr/>
        </p:nvSpPr>
        <p:spPr bwMode="auto">
          <a:xfrm rot="10800000">
            <a:off x="15494279" y="9854991"/>
            <a:ext cx="2470156" cy="993107"/>
          </a:xfrm>
          <a:prstGeom prst="chevron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7FA66A5C-93DE-42A9-A65A-3A93CABEB0D6}"/>
              </a:ext>
            </a:extLst>
          </p:cNvPr>
          <p:cNvSpPr txBox="1"/>
          <p:nvPr/>
        </p:nvSpPr>
        <p:spPr>
          <a:xfrm>
            <a:off x="15768281" y="9815621"/>
            <a:ext cx="2248066" cy="102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025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Unstruc-tured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592027F6-808E-4517-B37A-93A80FF60BC1}"/>
              </a:ext>
            </a:extLst>
          </p:cNvPr>
          <p:cNvSpPr/>
          <p:nvPr/>
        </p:nvSpPr>
        <p:spPr bwMode="auto">
          <a:xfrm>
            <a:off x="3249936" y="11311617"/>
            <a:ext cx="6185615" cy="108889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erformance</a:t>
            </a: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5B6C6424-0CDF-46D5-AF08-927F8BA9F7EB}"/>
              </a:ext>
            </a:extLst>
          </p:cNvPr>
          <p:cNvSpPr txBox="1"/>
          <p:nvPr/>
        </p:nvSpPr>
        <p:spPr>
          <a:xfrm>
            <a:off x="4576699" y="8521560"/>
            <a:ext cx="5212644" cy="8902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5185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alue Proposition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708C70F5-0EBA-4DED-80C6-21BD6B4F53A0}"/>
              </a:ext>
            </a:extLst>
          </p:cNvPr>
          <p:cNvSpPr/>
          <p:nvPr/>
        </p:nvSpPr>
        <p:spPr bwMode="auto">
          <a:xfrm>
            <a:off x="2531543" y="8436430"/>
            <a:ext cx="9199866" cy="5989748"/>
          </a:xfrm>
          <a:prstGeom prst="rect">
            <a:avLst/>
          </a:prstGeom>
          <a:noFill/>
          <a:ln w="38100">
            <a:solidFill>
              <a:schemeClr val="tx1"/>
            </a:solidFill>
            <a:prstDash val="lgDashDotDot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6914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3A07D29C-0602-41BE-8AF9-A0BECAF3861D}"/>
              </a:ext>
            </a:extLst>
          </p:cNvPr>
          <p:cNvSpPr/>
          <p:nvPr/>
        </p:nvSpPr>
        <p:spPr bwMode="auto">
          <a:xfrm>
            <a:off x="30897664" y="6293204"/>
            <a:ext cx="9405805" cy="3425265"/>
          </a:xfrm>
          <a:prstGeom prst="rect">
            <a:avLst/>
          </a:prstGeom>
          <a:solidFill>
            <a:srgbClr val="F9F4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934404"/>
            <a:endParaRPr lang="de-CH" sz="7618" kern="0">
              <a:solidFill>
                <a:prstClr val="white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78" name="Grafik 177" descr="Balkendiagramm RNL">
            <a:extLst>
              <a:ext uri="{FF2B5EF4-FFF2-40B4-BE49-F238E27FC236}">
                <a16:creationId xmlns:a16="http://schemas.microsoft.com/office/drawing/2014/main" id="{F6DE7151-B31F-4924-A0D2-387C5B0BC94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19957" y="6797458"/>
            <a:ext cx="933335" cy="933335"/>
          </a:xfrm>
          <a:prstGeom prst="rect">
            <a:avLst/>
          </a:prstGeom>
        </p:spPr>
      </p:pic>
      <p:pic>
        <p:nvPicPr>
          <p:cNvPr id="179" name="Grafik 178" descr="Kreisdiagramm">
            <a:extLst>
              <a:ext uri="{FF2B5EF4-FFF2-40B4-BE49-F238E27FC236}">
                <a16:creationId xmlns:a16="http://schemas.microsoft.com/office/drawing/2014/main" id="{6AD7DA15-20AE-4C0C-B8DD-072F0088690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525018" y="7600890"/>
            <a:ext cx="933335" cy="933335"/>
          </a:xfrm>
          <a:prstGeom prst="rect">
            <a:avLst/>
          </a:prstGeom>
        </p:spPr>
      </p:pic>
      <p:pic>
        <p:nvPicPr>
          <p:cNvPr id="180" name="Grafik 179" descr="Recherche">
            <a:extLst>
              <a:ext uri="{FF2B5EF4-FFF2-40B4-BE49-F238E27FC236}">
                <a16:creationId xmlns:a16="http://schemas.microsoft.com/office/drawing/2014/main" id="{2BFE5A7D-9444-421A-85DA-4310C0DE1EF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461416" y="7549652"/>
            <a:ext cx="933335" cy="933335"/>
          </a:xfrm>
          <a:prstGeom prst="rect">
            <a:avLst/>
          </a:prstGeom>
        </p:spPr>
      </p:pic>
      <p:pic>
        <p:nvPicPr>
          <p:cNvPr id="181" name="Grafik 180" descr="Dokument">
            <a:extLst>
              <a:ext uri="{FF2B5EF4-FFF2-40B4-BE49-F238E27FC236}">
                <a16:creationId xmlns:a16="http://schemas.microsoft.com/office/drawing/2014/main" id="{196897F3-AD93-48BE-BDAB-BC5B47E5F44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006940" y="7518005"/>
            <a:ext cx="933335" cy="933335"/>
          </a:xfrm>
          <a:prstGeom prst="rect">
            <a:avLst/>
          </a:prstGeom>
        </p:spPr>
      </p:pic>
      <p:pic>
        <p:nvPicPr>
          <p:cNvPr id="182" name="Grafik 181" descr="Wolke">
            <a:extLst>
              <a:ext uri="{FF2B5EF4-FFF2-40B4-BE49-F238E27FC236}">
                <a16:creationId xmlns:a16="http://schemas.microsoft.com/office/drawing/2014/main" id="{3B24B123-7445-4AE5-B580-0B5B671F5C8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1564227" y="6647161"/>
            <a:ext cx="933335" cy="933335"/>
          </a:xfrm>
          <a:prstGeom prst="rect">
            <a:avLst/>
          </a:prstGeom>
        </p:spPr>
      </p:pic>
      <p:pic>
        <p:nvPicPr>
          <p:cNvPr id="183" name="Grafik 182" descr="Überwachungskamera">
            <a:extLst>
              <a:ext uri="{FF2B5EF4-FFF2-40B4-BE49-F238E27FC236}">
                <a16:creationId xmlns:a16="http://schemas.microsoft.com/office/drawing/2014/main" id="{F4936960-6BF4-465F-BCEF-778C986F00B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4914336" y="6792977"/>
            <a:ext cx="933335" cy="933335"/>
          </a:xfrm>
          <a:prstGeom prst="rect">
            <a:avLst/>
          </a:prstGeom>
        </p:spPr>
      </p:pic>
      <p:pic>
        <p:nvPicPr>
          <p:cNvPr id="184" name="Grafik 183" descr="Aufwärtstrend">
            <a:extLst>
              <a:ext uri="{FF2B5EF4-FFF2-40B4-BE49-F238E27FC236}">
                <a16:creationId xmlns:a16="http://schemas.microsoft.com/office/drawing/2014/main" id="{0F593E88-5E06-4ADD-8190-A375B00C2C1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4053396" y="7622150"/>
            <a:ext cx="933335" cy="933335"/>
          </a:xfrm>
          <a:prstGeom prst="rect">
            <a:avLst/>
          </a:prstGeom>
        </p:spPr>
      </p:pic>
      <p:pic>
        <p:nvPicPr>
          <p:cNvPr id="185" name="Grafik 184" descr="Playbook">
            <a:extLst>
              <a:ext uri="{FF2B5EF4-FFF2-40B4-BE49-F238E27FC236}">
                <a16:creationId xmlns:a16="http://schemas.microsoft.com/office/drawing/2014/main" id="{517B29EF-525E-4F3D-AE58-BF41914976B0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4841839" y="8396887"/>
            <a:ext cx="933335" cy="933335"/>
          </a:xfrm>
          <a:prstGeom prst="rect">
            <a:avLst/>
          </a:prstGeom>
        </p:spPr>
      </p:pic>
      <p:pic>
        <p:nvPicPr>
          <p:cNvPr id="186" name="Grafik 185" descr="Teils Sonne">
            <a:extLst>
              <a:ext uri="{FF2B5EF4-FFF2-40B4-BE49-F238E27FC236}">
                <a16:creationId xmlns:a16="http://schemas.microsoft.com/office/drawing/2014/main" id="{038D0E8E-BACF-452D-ACF1-A2EFC9D3F184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6243284" y="6761991"/>
            <a:ext cx="933335" cy="933335"/>
          </a:xfrm>
          <a:prstGeom prst="rect">
            <a:avLst/>
          </a:prstGeom>
        </p:spPr>
      </p:pic>
      <p:pic>
        <p:nvPicPr>
          <p:cNvPr id="187" name="Grafik 186" descr="Thermometer">
            <a:extLst>
              <a:ext uri="{FF2B5EF4-FFF2-40B4-BE49-F238E27FC236}">
                <a16:creationId xmlns:a16="http://schemas.microsoft.com/office/drawing/2014/main" id="{79BFFBC8-8D69-4D78-A595-BBEDF46479FC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6219553" y="8353085"/>
            <a:ext cx="933335" cy="933335"/>
          </a:xfrm>
          <a:prstGeom prst="rect">
            <a:avLst/>
          </a:prstGeom>
        </p:spPr>
      </p:pic>
      <p:pic>
        <p:nvPicPr>
          <p:cNvPr id="188" name="Grafik 187" descr="Monatskalender">
            <a:extLst>
              <a:ext uri="{FF2B5EF4-FFF2-40B4-BE49-F238E27FC236}">
                <a16:creationId xmlns:a16="http://schemas.microsoft.com/office/drawing/2014/main" id="{B4AAAEB1-96D5-4E57-893E-9B8DC1F32153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1564227" y="8402089"/>
            <a:ext cx="933335" cy="933335"/>
          </a:xfrm>
          <a:prstGeom prst="rect">
            <a:avLst/>
          </a:prstGeom>
        </p:spPr>
      </p:pic>
      <p:pic>
        <p:nvPicPr>
          <p:cNvPr id="189" name="Grafik 188" descr="Uhr">
            <a:extLst>
              <a:ext uri="{FF2B5EF4-FFF2-40B4-BE49-F238E27FC236}">
                <a16:creationId xmlns:a16="http://schemas.microsoft.com/office/drawing/2014/main" id="{8798FDAC-966E-421E-A5F7-D02720BFA390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3119957" y="8416746"/>
            <a:ext cx="933335" cy="933335"/>
          </a:xfrm>
          <a:prstGeom prst="rect">
            <a:avLst/>
          </a:prstGeom>
        </p:spPr>
      </p:pic>
      <p:sp>
        <p:nvSpPr>
          <p:cNvPr id="190" name="Sechseck 189">
            <a:extLst>
              <a:ext uri="{FF2B5EF4-FFF2-40B4-BE49-F238E27FC236}">
                <a16:creationId xmlns:a16="http://schemas.microsoft.com/office/drawing/2014/main" id="{F9F143B3-443A-4651-9732-C41FACE34ECE}"/>
              </a:ext>
            </a:extLst>
          </p:cNvPr>
          <p:cNvSpPr/>
          <p:nvPr/>
        </p:nvSpPr>
        <p:spPr bwMode="auto">
          <a:xfrm>
            <a:off x="36035168" y="13742816"/>
            <a:ext cx="2022225" cy="1088890"/>
          </a:xfrm>
          <a:prstGeom prst="hexagon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IS</a:t>
            </a:r>
          </a:p>
        </p:txBody>
      </p:sp>
      <p:sp>
        <p:nvSpPr>
          <p:cNvPr id="191" name="Sechseck 190">
            <a:extLst>
              <a:ext uri="{FF2B5EF4-FFF2-40B4-BE49-F238E27FC236}">
                <a16:creationId xmlns:a16="http://schemas.microsoft.com/office/drawing/2014/main" id="{CC50BD51-720E-4745-8123-F5D2013D7003}"/>
              </a:ext>
            </a:extLst>
          </p:cNvPr>
          <p:cNvSpPr/>
          <p:nvPr/>
        </p:nvSpPr>
        <p:spPr bwMode="auto">
          <a:xfrm>
            <a:off x="36035168" y="14793444"/>
            <a:ext cx="2022225" cy="1088890"/>
          </a:xfrm>
          <a:prstGeom prst="hexagon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CM</a:t>
            </a:r>
          </a:p>
        </p:txBody>
      </p:sp>
      <p:sp>
        <p:nvSpPr>
          <p:cNvPr id="192" name="Sechseck 191">
            <a:extLst>
              <a:ext uri="{FF2B5EF4-FFF2-40B4-BE49-F238E27FC236}">
                <a16:creationId xmlns:a16="http://schemas.microsoft.com/office/drawing/2014/main" id="{8D562023-1A64-43EA-9C13-E9CCB0FA5377}"/>
              </a:ext>
            </a:extLst>
          </p:cNvPr>
          <p:cNvSpPr/>
          <p:nvPr/>
        </p:nvSpPr>
        <p:spPr bwMode="auto">
          <a:xfrm>
            <a:off x="36021099" y="15890946"/>
            <a:ext cx="2022225" cy="1088890"/>
          </a:xfrm>
          <a:prstGeom prst="hexagon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RP</a:t>
            </a:r>
          </a:p>
        </p:txBody>
      </p:sp>
      <p:sp>
        <p:nvSpPr>
          <p:cNvPr id="193" name="Sechseck 192">
            <a:extLst>
              <a:ext uri="{FF2B5EF4-FFF2-40B4-BE49-F238E27FC236}">
                <a16:creationId xmlns:a16="http://schemas.microsoft.com/office/drawing/2014/main" id="{E2D996F3-AC30-405C-9F6F-3008F22C62FB}"/>
              </a:ext>
            </a:extLst>
          </p:cNvPr>
          <p:cNvSpPr/>
          <p:nvPr/>
        </p:nvSpPr>
        <p:spPr bwMode="auto">
          <a:xfrm>
            <a:off x="34246938" y="14251475"/>
            <a:ext cx="2022225" cy="1088890"/>
          </a:xfrm>
          <a:prstGeom prst="hexagon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RM</a:t>
            </a:r>
          </a:p>
        </p:txBody>
      </p:sp>
      <p:sp>
        <p:nvSpPr>
          <p:cNvPr id="194" name="Sechseck 193">
            <a:extLst>
              <a:ext uri="{FF2B5EF4-FFF2-40B4-BE49-F238E27FC236}">
                <a16:creationId xmlns:a16="http://schemas.microsoft.com/office/drawing/2014/main" id="{2EB301FA-995D-4509-AC93-1408F1B52A9E}"/>
              </a:ext>
            </a:extLst>
          </p:cNvPr>
          <p:cNvSpPr/>
          <p:nvPr/>
        </p:nvSpPr>
        <p:spPr bwMode="auto">
          <a:xfrm>
            <a:off x="34246938" y="15333585"/>
            <a:ext cx="2022225" cy="1088890"/>
          </a:xfrm>
          <a:prstGeom prst="hexagon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LM</a:t>
            </a:r>
          </a:p>
        </p:txBody>
      </p:sp>
      <p:sp>
        <p:nvSpPr>
          <p:cNvPr id="195" name="Sechseck 194">
            <a:extLst>
              <a:ext uri="{FF2B5EF4-FFF2-40B4-BE49-F238E27FC236}">
                <a16:creationId xmlns:a16="http://schemas.microsoft.com/office/drawing/2014/main" id="{3341A212-5EF7-45F2-9700-F099A6B3D6CD}"/>
              </a:ext>
            </a:extLst>
          </p:cNvPr>
          <p:cNvSpPr/>
          <p:nvPr/>
        </p:nvSpPr>
        <p:spPr bwMode="auto">
          <a:xfrm>
            <a:off x="37814605" y="14270089"/>
            <a:ext cx="2022225" cy="1088890"/>
          </a:xfrm>
          <a:prstGeom prst="hexagon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ES</a:t>
            </a:r>
          </a:p>
        </p:txBody>
      </p:sp>
      <p:sp>
        <p:nvSpPr>
          <p:cNvPr id="196" name="Sechseck 195">
            <a:extLst>
              <a:ext uri="{FF2B5EF4-FFF2-40B4-BE49-F238E27FC236}">
                <a16:creationId xmlns:a16="http://schemas.microsoft.com/office/drawing/2014/main" id="{5F9132C6-94D3-4A8C-AF72-4814DE8025B4}"/>
              </a:ext>
            </a:extLst>
          </p:cNvPr>
          <p:cNvSpPr/>
          <p:nvPr/>
        </p:nvSpPr>
        <p:spPr bwMode="auto">
          <a:xfrm>
            <a:off x="37814605" y="15380671"/>
            <a:ext cx="2022225" cy="1088890"/>
          </a:xfrm>
          <a:prstGeom prst="hexagon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…</a:t>
            </a:r>
          </a:p>
        </p:txBody>
      </p:sp>
      <p:pic>
        <p:nvPicPr>
          <p:cNvPr id="213" name="Grafik 212" descr="Zahnrad">
            <a:extLst>
              <a:ext uri="{FF2B5EF4-FFF2-40B4-BE49-F238E27FC236}">
                <a16:creationId xmlns:a16="http://schemas.microsoft.com/office/drawing/2014/main" id="{E72D3E23-D9F2-4AC6-92A3-EDBC3EF56E3C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3868479" y="11960868"/>
            <a:ext cx="1426956" cy="1426956"/>
          </a:xfrm>
          <a:prstGeom prst="rect">
            <a:avLst/>
          </a:prstGeom>
        </p:spPr>
      </p:pic>
      <p:sp>
        <p:nvSpPr>
          <p:cNvPr id="221" name="Textfeld 220">
            <a:extLst>
              <a:ext uri="{FF2B5EF4-FFF2-40B4-BE49-F238E27FC236}">
                <a16:creationId xmlns:a16="http://schemas.microsoft.com/office/drawing/2014/main" id="{36D5FF08-29E9-4A2E-B900-B11330207E8E}"/>
              </a:ext>
            </a:extLst>
          </p:cNvPr>
          <p:cNvSpPr txBox="1"/>
          <p:nvPr/>
        </p:nvSpPr>
        <p:spPr>
          <a:xfrm>
            <a:off x="15288459" y="8002851"/>
            <a:ext cx="8406221" cy="10232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6049" b="1" dirty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igital Twin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8">
            <p14:nvContentPartPr>
              <p14:cNvPr id="123" name="Freihand 122">
                <a:extLst>
                  <a:ext uri="{FF2B5EF4-FFF2-40B4-BE49-F238E27FC236}">
                    <a16:creationId xmlns:a16="http://schemas.microsoft.com/office/drawing/2014/main" id="{61EFCB14-9316-46A5-BF76-765C86E1FFD7}"/>
                  </a:ext>
                </a:extLst>
              </p14:cNvPr>
              <p14:cNvContentPartPr/>
              <p14:nvPr/>
            </p14:nvContentPartPr>
            <p14:xfrm>
              <a:off x="14702530" y="11998854"/>
              <a:ext cx="1556" cy="1556"/>
            </p14:xfrm>
          </p:contentPart>
        </mc:Choice>
        <mc:Fallback>
          <p:pic>
            <p:nvPicPr>
              <p:cNvPr id="123" name="Freihand 122">
                <a:extLst>
                  <a:ext uri="{FF2B5EF4-FFF2-40B4-BE49-F238E27FC236}">
                    <a16:creationId xmlns:a16="http://schemas.microsoft.com/office/drawing/2014/main" id="{61EFCB14-9316-46A5-BF76-765C86E1FFD7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14624730" y="11921054"/>
                <a:ext cx="155600" cy="155600"/>
              </a:xfrm>
              <a:prstGeom prst="rect">
                <a:avLst/>
              </a:prstGeom>
            </p:spPr>
          </p:pic>
        </mc:Fallback>
      </mc:AlternateContent>
      <p:sp>
        <p:nvSpPr>
          <p:cNvPr id="229" name="Pfeil: Chevron 228">
            <a:extLst>
              <a:ext uri="{FF2B5EF4-FFF2-40B4-BE49-F238E27FC236}">
                <a16:creationId xmlns:a16="http://schemas.microsoft.com/office/drawing/2014/main" id="{21272117-8BDD-48C4-A24F-F99DB71DDBB1}"/>
              </a:ext>
            </a:extLst>
          </p:cNvPr>
          <p:cNvSpPr/>
          <p:nvPr/>
        </p:nvSpPr>
        <p:spPr bwMode="auto">
          <a:xfrm rot="10800000">
            <a:off x="17491743" y="9897503"/>
            <a:ext cx="2061213" cy="3920005"/>
          </a:xfrm>
          <a:prstGeom prst="chevron">
            <a:avLst>
              <a:gd name="adj" fmla="val 69967"/>
            </a:avLst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0" name="Gleichschenkliges Dreieck 229">
            <a:extLst>
              <a:ext uri="{FF2B5EF4-FFF2-40B4-BE49-F238E27FC236}">
                <a16:creationId xmlns:a16="http://schemas.microsoft.com/office/drawing/2014/main" id="{DEE1D9C0-E914-42A9-9CCB-4C5C538A5AEA}"/>
              </a:ext>
            </a:extLst>
          </p:cNvPr>
          <p:cNvSpPr/>
          <p:nvPr/>
        </p:nvSpPr>
        <p:spPr bwMode="auto">
          <a:xfrm rot="16200000">
            <a:off x="16809387" y="11072096"/>
            <a:ext cx="3920005" cy="1570819"/>
          </a:xfrm>
          <a:prstGeom prst="triangle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50134D89-DE77-4A8F-AE41-64EFAB98D866}"/>
              </a:ext>
            </a:extLst>
          </p:cNvPr>
          <p:cNvSpPr/>
          <p:nvPr/>
        </p:nvSpPr>
        <p:spPr bwMode="auto">
          <a:xfrm>
            <a:off x="17548384" y="9832345"/>
            <a:ext cx="2543605" cy="40399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vert270" wrap="square" lIns="155556" tIns="155556" rIns="155556" bIns="155556" rtlCol="0" anchor="ctr" anchorCtr="1"/>
          <a:lstStyle/>
          <a:p>
            <a:pPr algn="ctr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at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FE83EFAA-75CA-461A-BDCC-4ADAA76B9CF4}"/>
              </a:ext>
            </a:extLst>
          </p:cNvPr>
          <p:cNvSpPr/>
          <p:nvPr/>
        </p:nvSpPr>
        <p:spPr bwMode="auto">
          <a:xfrm>
            <a:off x="3195301" y="12719056"/>
            <a:ext cx="6185615" cy="108889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Quality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A6B30F11-C7A4-4959-AFCA-D4FE716AEE38}"/>
              </a:ext>
            </a:extLst>
          </p:cNvPr>
          <p:cNvSpPr/>
          <p:nvPr/>
        </p:nvSpPr>
        <p:spPr bwMode="auto">
          <a:xfrm>
            <a:off x="3249940" y="9896060"/>
            <a:ext cx="6185615" cy="108889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vailability</a:t>
            </a:r>
            <a:endParaRPr lang="de-CH" sz="432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40" name="Rechteck: obere Ecken abgeschnitten 239">
            <a:extLst>
              <a:ext uri="{FF2B5EF4-FFF2-40B4-BE49-F238E27FC236}">
                <a16:creationId xmlns:a16="http://schemas.microsoft.com/office/drawing/2014/main" id="{985ABCE6-C5CC-450A-9146-2B9E2DA50543}"/>
              </a:ext>
            </a:extLst>
          </p:cNvPr>
          <p:cNvSpPr/>
          <p:nvPr/>
        </p:nvSpPr>
        <p:spPr bwMode="auto">
          <a:xfrm rot="10800000">
            <a:off x="7629643" y="14044503"/>
            <a:ext cx="1400002" cy="5293234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216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41" name="Rechteck: obere Ecken abgeschnitten 240">
            <a:extLst>
              <a:ext uri="{FF2B5EF4-FFF2-40B4-BE49-F238E27FC236}">
                <a16:creationId xmlns:a16="http://schemas.microsoft.com/office/drawing/2014/main" id="{3C906801-5358-44E9-9BCC-531D60D77A06}"/>
              </a:ext>
            </a:extLst>
          </p:cNvPr>
          <p:cNvSpPr/>
          <p:nvPr/>
        </p:nvSpPr>
        <p:spPr bwMode="auto">
          <a:xfrm rot="10800000">
            <a:off x="3552431" y="14044503"/>
            <a:ext cx="1400002" cy="5293234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endParaRPr lang="de-CH" sz="216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42" name="Rechteck: obere Ecken abgeschnitten 241">
            <a:extLst>
              <a:ext uri="{FF2B5EF4-FFF2-40B4-BE49-F238E27FC236}">
                <a16:creationId xmlns:a16="http://schemas.microsoft.com/office/drawing/2014/main" id="{7EC3945D-07A9-4119-A1CF-64354243DD7E}"/>
              </a:ext>
            </a:extLst>
          </p:cNvPr>
          <p:cNvSpPr/>
          <p:nvPr/>
        </p:nvSpPr>
        <p:spPr bwMode="auto">
          <a:xfrm rot="10800000">
            <a:off x="5542357" y="14044503"/>
            <a:ext cx="1400002" cy="5293234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216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43" name="Textfeld 242">
            <a:extLst>
              <a:ext uri="{FF2B5EF4-FFF2-40B4-BE49-F238E27FC236}">
                <a16:creationId xmlns:a16="http://schemas.microsoft.com/office/drawing/2014/main" id="{D8A4B695-CF5B-4C09-BD0D-7968278A2591}"/>
              </a:ext>
            </a:extLst>
          </p:cNvPr>
          <p:cNvSpPr txBox="1"/>
          <p:nvPr/>
        </p:nvSpPr>
        <p:spPr>
          <a:xfrm rot="16200000">
            <a:off x="7380405" y="16149386"/>
            <a:ext cx="1951047" cy="7572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32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ntrol</a:t>
            </a:r>
          </a:p>
        </p:txBody>
      </p:sp>
      <p:sp>
        <p:nvSpPr>
          <p:cNvPr id="244" name="Textfeld 243">
            <a:extLst>
              <a:ext uri="{FF2B5EF4-FFF2-40B4-BE49-F238E27FC236}">
                <a16:creationId xmlns:a16="http://schemas.microsoft.com/office/drawing/2014/main" id="{CDD39D9D-5B03-4B44-8E74-E693A9BB5A57}"/>
              </a:ext>
            </a:extLst>
          </p:cNvPr>
          <p:cNvSpPr txBox="1"/>
          <p:nvPr/>
        </p:nvSpPr>
        <p:spPr>
          <a:xfrm rot="16200000">
            <a:off x="4592501" y="16221888"/>
            <a:ext cx="3278462" cy="7572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321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Optimization</a:t>
            </a:r>
            <a:endParaRPr lang="de-CH" sz="432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45" name="Textfeld 244">
            <a:extLst>
              <a:ext uri="{FF2B5EF4-FFF2-40B4-BE49-F238E27FC236}">
                <a16:creationId xmlns:a16="http://schemas.microsoft.com/office/drawing/2014/main" id="{4304AAAB-9291-4CF8-8348-FA27A7FFF15E}"/>
              </a:ext>
            </a:extLst>
          </p:cNvPr>
          <p:cNvSpPr txBox="1"/>
          <p:nvPr/>
        </p:nvSpPr>
        <p:spPr>
          <a:xfrm rot="16200000">
            <a:off x="2901736" y="16202465"/>
            <a:ext cx="2636171" cy="7572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321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utonomy</a:t>
            </a:r>
            <a:endParaRPr lang="de-CH" sz="4321" baseline="300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47" name="Rechteck: abgerundete Ecken 246">
            <a:extLst>
              <a:ext uri="{FF2B5EF4-FFF2-40B4-BE49-F238E27FC236}">
                <a16:creationId xmlns:a16="http://schemas.microsoft.com/office/drawing/2014/main" id="{B9100D16-BCDB-4574-9945-3E16443A30A1}"/>
              </a:ext>
            </a:extLst>
          </p:cNvPr>
          <p:cNvSpPr/>
          <p:nvPr/>
        </p:nvSpPr>
        <p:spPr bwMode="auto">
          <a:xfrm>
            <a:off x="3534959" y="23187402"/>
            <a:ext cx="9648636" cy="121566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mart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nnected</a:t>
            </a:r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duct</a:t>
            </a:r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(SCP) 1</a:t>
            </a:r>
          </a:p>
        </p:txBody>
      </p:sp>
      <p:sp>
        <p:nvSpPr>
          <p:cNvPr id="265" name="Rechteck: abgerundete Ecken 264">
            <a:extLst>
              <a:ext uri="{FF2B5EF4-FFF2-40B4-BE49-F238E27FC236}">
                <a16:creationId xmlns:a16="http://schemas.microsoft.com/office/drawing/2014/main" id="{1ACE2B48-246D-4C5D-B5AF-679D7C99255F}"/>
              </a:ext>
            </a:extLst>
          </p:cNvPr>
          <p:cNvSpPr/>
          <p:nvPr/>
        </p:nvSpPr>
        <p:spPr bwMode="auto">
          <a:xfrm>
            <a:off x="13824857" y="23223439"/>
            <a:ext cx="2617541" cy="119855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CP 2</a:t>
            </a:r>
          </a:p>
        </p:txBody>
      </p:sp>
      <p:sp>
        <p:nvSpPr>
          <p:cNvPr id="266" name="Rechteck: abgerundete Ecken 265">
            <a:extLst>
              <a:ext uri="{FF2B5EF4-FFF2-40B4-BE49-F238E27FC236}">
                <a16:creationId xmlns:a16="http://schemas.microsoft.com/office/drawing/2014/main" id="{1B5A92CC-54F4-451F-A9CC-ECABDDE4BB4E}"/>
              </a:ext>
            </a:extLst>
          </p:cNvPr>
          <p:cNvSpPr/>
          <p:nvPr/>
        </p:nvSpPr>
        <p:spPr bwMode="auto">
          <a:xfrm>
            <a:off x="17103363" y="23233727"/>
            <a:ext cx="2587381" cy="119855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…</a:t>
            </a:r>
          </a:p>
        </p:txBody>
      </p:sp>
      <p:sp>
        <p:nvSpPr>
          <p:cNvPr id="290" name="Textfeld 289">
            <a:extLst>
              <a:ext uri="{FF2B5EF4-FFF2-40B4-BE49-F238E27FC236}">
                <a16:creationId xmlns:a16="http://schemas.microsoft.com/office/drawing/2014/main" id="{D8D538C3-B900-43D4-A7B2-20B0E35D7B50}"/>
              </a:ext>
            </a:extLst>
          </p:cNvPr>
          <p:cNvSpPr txBox="1"/>
          <p:nvPr/>
        </p:nvSpPr>
        <p:spPr>
          <a:xfrm>
            <a:off x="36771406" y="21960815"/>
            <a:ext cx="4196087" cy="890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5185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ings</a:t>
            </a:r>
          </a:p>
        </p:txBody>
      </p:sp>
      <p:sp>
        <p:nvSpPr>
          <p:cNvPr id="291" name="Textfeld 290">
            <a:extLst>
              <a:ext uri="{FF2B5EF4-FFF2-40B4-BE49-F238E27FC236}">
                <a16:creationId xmlns:a16="http://schemas.microsoft.com/office/drawing/2014/main" id="{3DEC26D5-C658-4E69-8436-FE1E8880DC7E}"/>
              </a:ext>
            </a:extLst>
          </p:cNvPr>
          <p:cNvSpPr txBox="1"/>
          <p:nvPr/>
        </p:nvSpPr>
        <p:spPr>
          <a:xfrm>
            <a:off x="37351843" y="7063138"/>
            <a:ext cx="2700110" cy="1688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5185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xternal</a:t>
            </a:r>
          </a:p>
          <a:p>
            <a:r>
              <a:rPr lang="de-CH" sz="5185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s</a:t>
            </a:r>
            <a:endParaRPr lang="de-CH" sz="5185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93" name="Textfeld 292">
            <a:extLst>
              <a:ext uri="{FF2B5EF4-FFF2-40B4-BE49-F238E27FC236}">
                <a16:creationId xmlns:a16="http://schemas.microsoft.com/office/drawing/2014/main" id="{F4AE239E-B819-44F4-8681-983B891A5017}"/>
              </a:ext>
            </a:extLst>
          </p:cNvPr>
          <p:cNvSpPr txBox="1"/>
          <p:nvPr/>
        </p:nvSpPr>
        <p:spPr>
          <a:xfrm>
            <a:off x="35861929" y="10613838"/>
            <a:ext cx="2519655" cy="1688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5185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rnal</a:t>
            </a:r>
          </a:p>
          <a:p>
            <a:r>
              <a:rPr lang="de-CH" sz="5185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s</a:t>
            </a:r>
            <a:endParaRPr lang="de-CH" sz="5185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02" name="Rechteck: abgerundete Ecken 301">
            <a:extLst>
              <a:ext uri="{FF2B5EF4-FFF2-40B4-BE49-F238E27FC236}">
                <a16:creationId xmlns:a16="http://schemas.microsoft.com/office/drawing/2014/main" id="{C8867DCD-8C9B-4E08-856D-9B83FB1E72A1}"/>
              </a:ext>
            </a:extLst>
          </p:cNvPr>
          <p:cNvSpPr/>
          <p:nvPr/>
        </p:nvSpPr>
        <p:spPr bwMode="auto">
          <a:xfrm>
            <a:off x="21296775" y="23233723"/>
            <a:ext cx="2562794" cy="119855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…</a:t>
            </a:r>
          </a:p>
        </p:txBody>
      </p:sp>
      <p:sp>
        <p:nvSpPr>
          <p:cNvPr id="303" name="Rechteck: abgerundete Ecken 302">
            <a:extLst>
              <a:ext uri="{FF2B5EF4-FFF2-40B4-BE49-F238E27FC236}">
                <a16:creationId xmlns:a16="http://schemas.microsoft.com/office/drawing/2014/main" id="{9F198B8B-6A47-4A1A-A5BB-FE2E30097B64}"/>
              </a:ext>
            </a:extLst>
          </p:cNvPr>
          <p:cNvSpPr/>
          <p:nvPr/>
        </p:nvSpPr>
        <p:spPr bwMode="auto">
          <a:xfrm>
            <a:off x="24543701" y="23233727"/>
            <a:ext cx="2562790" cy="119855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…</a:t>
            </a:r>
          </a:p>
        </p:txBody>
      </p:sp>
      <p:sp>
        <p:nvSpPr>
          <p:cNvPr id="4" name="Pfeil: nach oben und unten 3">
            <a:extLst>
              <a:ext uri="{FF2B5EF4-FFF2-40B4-BE49-F238E27FC236}">
                <a16:creationId xmlns:a16="http://schemas.microsoft.com/office/drawing/2014/main" id="{B66DC24F-6B6E-4B60-A42C-32081C1A0790}"/>
              </a:ext>
            </a:extLst>
          </p:cNvPr>
          <p:cNvSpPr/>
          <p:nvPr/>
        </p:nvSpPr>
        <p:spPr bwMode="auto">
          <a:xfrm>
            <a:off x="30630800" y="9812511"/>
            <a:ext cx="1982960" cy="9336738"/>
          </a:xfrm>
          <a:prstGeom prst="upDownArrow">
            <a:avLst>
              <a:gd name="adj1" fmla="val 50000"/>
              <a:gd name="adj2" fmla="val 50848"/>
            </a:avLst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endParaRPr lang="de-CH" sz="4753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6" name="Pfeil: nach oben und unten 95">
            <a:extLst>
              <a:ext uri="{FF2B5EF4-FFF2-40B4-BE49-F238E27FC236}">
                <a16:creationId xmlns:a16="http://schemas.microsoft.com/office/drawing/2014/main" id="{CA958F75-F9F1-4BE1-8992-180131D2D3D3}"/>
              </a:ext>
            </a:extLst>
          </p:cNvPr>
          <p:cNvSpPr/>
          <p:nvPr/>
        </p:nvSpPr>
        <p:spPr bwMode="auto">
          <a:xfrm rot="5400000">
            <a:off x="29997718" y="8811095"/>
            <a:ext cx="1735004" cy="6069479"/>
          </a:xfrm>
          <a:prstGeom prst="upDownArrow">
            <a:avLst>
              <a:gd name="adj1" fmla="val 50000"/>
              <a:gd name="adj2" fmla="val 50848"/>
            </a:avLst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endParaRPr lang="de-CH" sz="4753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BF601C25-E6A5-4B3C-9C29-F8F175A5CE55}"/>
              </a:ext>
            </a:extLst>
          </p:cNvPr>
          <p:cNvSpPr/>
          <p:nvPr/>
        </p:nvSpPr>
        <p:spPr>
          <a:xfrm>
            <a:off x="30921961" y="11445159"/>
            <a:ext cx="1281120" cy="7572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432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ata</a:t>
            </a:r>
          </a:p>
        </p:txBody>
      </p:sp>
      <p:sp>
        <p:nvSpPr>
          <p:cNvPr id="100" name="Pfeil: gebogen 99">
            <a:extLst>
              <a:ext uri="{FF2B5EF4-FFF2-40B4-BE49-F238E27FC236}">
                <a16:creationId xmlns:a16="http://schemas.microsoft.com/office/drawing/2014/main" id="{22D7C092-4654-4FD1-ACE3-A82633F85228}"/>
              </a:ext>
            </a:extLst>
          </p:cNvPr>
          <p:cNvSpPr/>
          <p:nvPr/>
        </p:nvSpPr>
        <p:spPr bwMode="auto">
          <a:xfrm rot="5400000" flipH="1">
            <a:off x="25652788" y="16306359"/>
            <a:ext cx="3111124" cy="3111120"/>
          </a:xfrm>
          <a:prstGeom prst="bentArrow">
            <a:avLst>
              <a:gd name="adj1" fmla="val 25000"/>
              <a:gd name="adj2" fmla="val 25000"/>
              <a:gd name="adj3" fmla="val 0"/>
              <a:gd name="adj4" fmla="val 43750"/>
            </a:avLst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5" name="Pfeil: gebogen 4">
            <a:extLst>
              <a:ext uri="{FF2B5EF4-FFF2-40B4-BE49-F238E27FC236}">
                <a16:creationId xmlns:a16="http://schemas.microsoft.com/office/drawing/2014/main" id="{48A7517C-1D2F-4CAC-A8E0-5A0FD5A4D12F}"/>
              </a:ext>
            </a:extLst>
          </p:cNvPr>
          <p:cNvSpPr/>
          <p:nvPr/>
        </p:nvSpPr>
        <p:spPr bwMode="auto">
          <a:xfrm rot="10800000" flipH="1">
            <a:off x="10479662" y="16692300"/>
            <a:ext cx="16022244" cy="3111115"/>
          </a:xfrm>
          <a:prstGeom prst="bentArrow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47000">
                <a:schemeClr val="bg1">
                  <a:lumMod val="75000"/>
                </a:schemeClr>
              </a:gs>
              <a:gs pos="86000">
                <a:srgbClr val="0064A6"/>
              </a:gs>
              <a:gs pos="100000">
                <a:srgbClr val="0064A6"/>
              </a:gs>
            </a:gsLst>
            <a:lin ang="54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endParaRPr lang="de-CH" sz="5185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8" name="Pfeil: gebogen 97">
            <a:extLst>
              <a:ext uri="{FF2B5EF4-FFF2-40B4-BE49-F238E27FC236}">
                <a16:creationId xmlns:a16="http://schemas.microsoft.com/office/drawing/2014/main" id="{553B19C2-D182-40D9-B2EE-D6323B142459}"/>
              </a:ext>
            </a:extLst>
          </p:cNvPr>
          <p:cNvSpPr/>
          <p:nvPr/>
        </p:nvSpPr>
        <p:spPr bwMode="auto">
          <a:xfrm rot="16200000" flipH="1">
            <a:off x="16320803" y="8497884"/>
            <a:ext cx="3111115" cy="15554302"/>
          </a:xfrm>
          <a:prstGeom prst="bentArrow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3D888585-8202-4B13-9D1D-2118088923DF}"/>
              </a:ext>
            </a:extLst>
          </p:cNvPr>
          <p:cNvSpPr/>
          <p:nvPr/>
        </p:nvSpPr>
        <p:spPr>
          <a:xfrm>
            <a:off x="17279900" y="18645959"/>
            <a:ext cx="3541034" cy="757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iddle-of-Lif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9265AAD-744D-40DC-ADF5-8879889CBAA1}"/>
              </a:ext>
            </a:extLst>
          </p:cNvPr>
          <p:cNvSpPr/>
          <p:nvPr/>
        </p:nvSpPr>
        <p:spPr>
          <a:xfrm>
            <a:off x="16894618" y="14685519"/>
            <a:ext cx="4291239" cy="757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sz="4321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eginning</a:t>
            </a:r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-of-Life</a:t>
            </a:r>
          </a:p>
        </p:txBody>
      </p:sp>
      <p:sp>
        <p:nvSpPr>
          <p:cNvPr id="99" name="Pfeil: gebogen 98">
            <a:extLst>
              <a:ext uri="{FF2B5EF4-FFF2-40B4-BE49-F238E27FC236}">
                <a16:creationId xmlns:a16="http://schemas.microsoft.com/office/drawing/2014/main" id="{7FD9DD2F-62FE-4318-9449-466C985F8377}"/>
              </a:ext>
            </a:extLst>
          </p:cNvPr>
          <p:cNvSpPr/>
          <p:nvPr/>
        </p:nvSpPr>
        <p:spPr bwMode="auto">
          <a:xfrm flipH="1">
            <a:off x="25269857" y="14333632"/>
            <a:ext cx="3111115" cy="3089869"/>
          </a:xfrm>
          <a:prstGeom prst="bentArrow">
            <a:avLst/>
          </a:prstGeom>
          <a:gradFill flip="none" rotWithShape="1">
            <a:gsLst>
              <a:gs pos="0">
                <a:srgbClr val="0064A6"/>
              </a:gs>
              <a:gs pos="59000">
                <a:srgbClr val="0070C0"/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endParaRPr lang="de-CH" sz="5185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D4C946D7-E2EC-44E3-8C37-1DD2A266A73D}"/>
              </a:ext>
            </a:extLst>
          </p:cNvPr>
          <p:cNvSpPr/>
          <p:nvPr/>
        </p:nvSpPr>
        <p:spPr>
          <a:xfrm rot="16200000">
            <a:off x="26487313" y="16697072"/>
            <a:ext cx="2834109" cy="757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nd-of-Life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71E66980-5CDB-42A2-8F1A-11F3F9FF4C90}"/>
              </a:ext>
            </a:extLst>
          </p:cNvPr>
          <p:cNvSpPr/>
          <p:nvPr/>
        </p:nvSpPr>
        <p:spPr bwMode="auto">
          <a:xfrm>
            <a:off x="11817597" y="17821239"/>
            <a:ext cx="2634648" cy="7264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2593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raining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4BDB4060-7270-4485-A224-2371ED3B95B8}"/>
              </a:ext>
            </a:extLst>
          </p:cNvPr>
          <p:cNvSpPr/>
          <p:nvPr/>
        </p:nvSpPr>
        <p:spPr bwMode="auto">
          <a:xfrm>
            <a:off x="15130836" y="17829324"/>
            <a:ext cx="2634648" cy="7264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593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rvice &amp; </a:t>
            </a:r>
            <a:r>
              <a:rPr lang="de-CH" sz="2593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intenance</a:t>
            </a:r>
            <a:endParaRPr lang="de-CH" sz="2593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6589CBB6-2461-4F06-8309-2F5447584F90}"/>
              </a:ext>
            </a:extLst>
          </p:cNvPr>
          <p:cNvSpPr/>
          <p:nvPr/>
        </p:nvSpPr>
        <p:spPr bwMode="auto">
          <a:xfrm>
            <a:off x="18119672" y="17824813"/>
            <a:ext cx="2634648" cy="7264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2593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Updates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06A11935-6DA4-4244-96B3-20C48F451547}"/>
              </a:ext>
            </a:extLst>
          </p:cNvPr>
          <p:cNvSpPr/>
          <p:nvPr/>
        </p:nvSpPr>
        <p:spPr bwMode="auto">
          <a:xfrm>
            <a:off x="21084733" y="17829479"/>
            <a:ext cx="2634648" cy="7264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2593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Upgrades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95D78D9-7428-4501-B8E3-9F232C0B1237}"/>
              </a:ext>
            </a:extLst>
          </p:cNvPr>
          <p:cNvSpPr/>
          <p:nvPr/>
        </p:nvSpPr>
        <p:spPr bwMode="auto">
          <a:xfrm>
            <a:off x="24406099" y="16763542"/>
            <a:ext cx="2634648" cy="726450"/>
          </a:xfrm>
          <a:prstGeom prst="rect">
            <a:avLst/>
          </a:prstGeom>
          <a:gradFill flip="none" rotWithShape="1">
            <a:gsLst>
              <a:gs pos="21000">
                <a:srgbClr val="0064A6"/>
              </a:gs>
              <a:gs pos="100000">
                <a:schemeClr val="bg1">
                  <a:lumMod val="85000"/>
                </a:schemeClr>
              </a:gs>
            </a:gsLst>
            <a:lin ang="54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2593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ecycling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1AF1BD5D-7116-443B-87BF-04A42BDE7B3F}"/>
              </a:ext>
            </a:extLst>
          </p:cNvPr>
          <p:cNvSpPr/>
          <p:nvPr/>
        </p:nvSpPr>
        <p:spPr bwMode="auto">
          <a:xfrm>
            <a:off x="21098111" y="15640252"/>
            <a:ext cx="2634648" cy="726450"/>
          </a:xfrm>
          <a:prstGeom prst="rect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593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duct</a:t>
            </a:r>
            <a:r>
              <a:rPr lang="de-CH" sz="2593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2593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lanning</a:t>
            </a:r>
            <a:endParaRPr lang="de-CH" sz="2593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94E54C7-AA66-43D6-AAC4-BAD331080553}"/>
              </a:ext>
            </a:extLst>
          </p:cNvPr>
          <p:cNvSpPr/>
          <p:nvPr/>
        </p:nvSpPr>
        <p:spPr bwMode="auto">
          <a:xfrm>
            <a:off x="18085393" y="15640097"/>
            <a:ext cx="2634648" cy="726450"/>
          </a:xfrm>
          <a:prstGeom prst="rect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593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duct</a:t>
            </a:r>
            <a:r>
              <a:rPr lang="de-CH" sz="2593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2593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evelopment</a:t>
            </a:r>
            <a:endParaRPr lang="de-CH" sz="2593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CDD9703-8982-44C6-B8AC-6C029339FE14}"/>
              </a:ext>
            </a:extLst>
          </p:cNvPr>
          <p:cNvSpPr/>
          <p:nvPr/>
        </p:nvSpPr>
        <p:spPr bwMode="auto">
          <a:xfrm>
            <a:off x="15084079" y="15649201"/>
            <a:ext cx="2634648" cy="726450"/>
          </a:xfrm>
          <a:prstGeom prst="rect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593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rketing &amp; </a:t>
            </a:r>
            <a:r>
              <a:rPr lang="de-CH" sz="2593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ales</a:t>
            </a:r>
            <a:endParaRPr lang="de-CH" sz="2593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92A332CF-964A-47AE-854A-F080C976AD55}"/>
              </a:ext>
            </a:extLst>
          </p:cNvPr>
          <p:cNvSpPr/>
          <p:nvPr/>
        </p:nvSpPr>
        <p:spPr bwMode="auto">
          <a:xfrm>
            <a:off x="11800054" y="15647572"/>
            <a:ext cx="2634648" cy="726450"/>
          </a:xfrm>
          <a:prstGeom prst="rect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2593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duction</a:t>
            </a:r>
            <a:endParaRPr lang="de-CH" sz="2593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A769282-57E6-4D04-99D0-D5FD5FD6A71F}"/>
              </a:ext>
            </a:extLst>
          </p:cNvPr>
          <p:cNvSpPr/>
          <p:nvPr/>
        </p:nvSpPr>
        <p:spPr bwMode="auto">
          <a:xfrm>
            <a:off x="11800054" y="16729929"/>
            <a:ext cx="2634648" cy="726450"/>
          </a:xfrm>
          <a:prstGeom prst="rect">
            <a:avLst/>
          </a:prstGeom>
          <a:gradFill flip="none" rotWithShape="1">
            <a:gsLst>
              <a:gs pos="21000">
                <a:srgbClr val="0064A6"/>
              </a:gs>
              <a:gs pos="100000">
                <a:schemeClr val="bg1">
                  <a:lumMod val="85000"/>
                </a:schemeClr>
              </a:gs>
            </a:gsLst>
            <a:lin ang="54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593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istribution &amp; </a:t>
            </a:r>
            <a:r>
              <a:rPr lang="de-CH" sz="2593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mmissioning</a:t>
            </a:r>
            <a:endParaRPr lang="de-CH" sz="2593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F37144F-8F91-4A61-84A9-1952C180CCD1}"/>
              </a:ext>
            </a:extLst>
          </p:cNvPr>
          <p:cNvSpPr/>
          <p:nvPr/>
        </p:nvSpPr>
        <p:spPr bwMode="auto">
          <a:xfrm>
            <a:off x="24398447" y="15620605"/>
            <a:ext cx="2634648" cy="726450"/>
          </a:xfrm>
          <a:prstGeom prst="rect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593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ustomer &amp;</a:t>
            </a:r>
          </a:p>
          <a:p>
            <a:pPr algn="ctr">
              <a:lnSpc>
                <a:spcPts val="2500"/>
              </a:lnSpc>
            </a:pPr>
            <a:r>
              <a:rPr lang="de-CH" sz="2593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rket</a:t>
            </a:r>
            <a:r>
              <a:rPr lang="de-CH" sz="2593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2593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nalysis</a:t>
            </a:r>
            <a:endParaRPr lang="de-CH" sz="2593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A2B7E80-3D28-41DF-89B5-8005AD84C0B8}"/>
              </a:ext>
            </a:extLst>
          </p:cNvPr>
          <p:cNvSpPr/>
          <p:nvPr/>
        </p:nvSpPr>
        <p:spPr bwMode="auto">
          <a:xfrm>
            <a:off x="24409958" y="17829324"/>
            <a:ext cx="2634648" cy="7264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2593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esale</a:t>
            </a:r>
            <a:endParaRPr lang="de-CH" sz="2593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22" name="Pfeil: gestreift nach rechts 221">
            <a:extLst>
              <a:ext uri="{FF2B5EF4-FFF2-40B4-BE49-F238E27FC236}">
                <a16:creationId xmlns:a16="http://schemas.microsoft.com/office/drawing/2014/main" id="{967F232E-F172-427C-B696-2A0701784BAB}"/>
              </a:ext>
            </a:extLst>
          </p:cNvPr>
          <p:cNvSpPr/>
          <p:nvPr/>
        </p:nvSpPr>
        <p:spPr bwMode="auto">
          <a:xfrm rot="16200000" flipH="1">
            <a:off x="10931329" y="7236782"/>
            <a:ext cx="3860206" cy="1321442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>
            <a:noFill/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rprets</a:t>
            </a:r>
            <a:endParaRPr lang="de-CH" sz="432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F5E593D4-8DC8-4329-A7E0-2A8F857F54BC}"/>
              </a:ext>
            </a:extLst>
          </p:cNvPr>
          <p:cNvSpPr/>
          <p:nvPr/>
        </p:nvSpPr>
        <p:spPr bwMode="auto">
          <a:xfrm>
            <a:off x="28843989" y="19830109"/>
            <a:ext cx="6132415" cy="5341547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endParaRPr lang="de-CH" sz="5185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AC7FA06-C42D-44AA-8CCB-55474691FAB6}"/>
              </a:ext>
            </a:extLst>
          </p:cNvPr>
          <p:cNvSpPr/>
          <p:nvPr/>
        </p:nvSpPr>
        <p:spPr bwMode="auto">
          <a:xfrm>
            <a:off x="28853514" y="19844791"/>
            <a:ext cx="6122890" cy="1198557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 of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s</a:t>
            </a:r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B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29821D1-B8F6-4385-8AB4-F1699760B4B1}"/>
              </a:ext>
            </a:extLst>
          </p:cNvPr>
          <p:cNvSpPr/>
          <p:nvPr/>
        </p:nvSpPr>
        <p:spPr bwMode="auto">
          <a:xfrm>
            <a:off x="29293308" y="21362546"/>
            <a:ext cx="5295485" cy="1198557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2B9FD3F6-1C56-4B0B-8760-0634B67FBD71}"/>
              </a:ext>
            </a:extLst>
          </p:cNvPr>
          <p:cNvSpPr/>
          <p:nvPr/>
        </p:nvSpPr>
        <p:spPr bwMode="auto">
          <a:xfrm>
            <a:off x="29293318" y="21359775"/>
            <a:ext cx="5295486" cy="3496846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r>
              <a:rPr lang="de-CH" sz="432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 …</a:t>
            </a:r>
          </a:p>
        </p:txBody>
      </p:sp>
      <p:sp>
        <p:nvSpPr>
          <p:cNvPr id="137" name="Rechteck: abgerundete Ecken 136">
            <a:extLst>
              <a:ext uri="{FF2B5EF4-FFF2-40B4-BE49-F238E27FC236}">
                <a16:creationId xmlns:a16="http://schemas.microsoft.com/office/drawing/2014/main" id="{D68B4DA0-3916-4F2F-953D-554CBF558F7E}"/>
              </a:ext>
            </a:extLst>
          </p:cNvPr>
          <p:cNvSpPr/>
          <p:nvPr/>
        </p:nvSpPr>
        <p:spPr bwMode="auto">
          <a:xfrm>
            <a:off x="29724465" y="23252108"/>
            <a:ext cx="2018846" cy="119855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…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1EC7A74-5BBA-48B7-A8C0-97B4A4B628BE}"/>
              </a:ext>
            </a:extLst>
          </p:cNvPr>
          <p:cNvSpPr/>
          <p:nvPr/>
        </p:nvSpPr>
        <p:spPr bwMode="auto">
          <a:xfrm>
            <a:off x="23964658" y="8002849"/>
            <a:ext cx="3873460" cy="1293796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…of Instances</a:t>
            </a:r>
            <a:endParaRPr lang="de-CH" sz="4753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DE69660-9AFB-4ECB-BE39-A490142D883A}"/>
              </a:ext>
            </a:extLst>
          </p:cNvPr>
          <p:cNvSpPr/>
          <p:nvPr/>
        </p:nvSpPr>
        <p:spPr bwMode="auto">
          <a:xfrm>
            <a:off x="24586950" y="7027074"/>
            <a:ext cx="3873460" cy="1293796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…of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ypes</a:t>
            </a:r>
            <a:endParaRPr lang="de-CH" sz="4753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04A4D8A-1816-46BE-9BCE-7F28CFC4D95C}"/>
              </a:ext>
            </a:extLst>
          </p:cNvPr>
          <p:cNvSpPr/>
          <p:nvPr/>
        </p:nvSpPr>
        <p:spPr bwMode="auto">
          <a:xfrm>
            <a:off x="23073559" y="6202386"/>
            <a:ext cx="9292059" cy="1293796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…of Portfolio</a:t>
            </a:r>
            <a:endParaRPr lang="de-CH" sz="4753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1" name="Pfeil: Chevron 150">
            <a:extLst>
              <a:ext uri="{FF2B5EF4-FFF2-40B4-BE49-F238E27FC236}">
                <a16:creationId xmlns:a16="http://schemas.microsoft.com/office/drawing/2014/main" id="{B915ECE7-242A-4731-B5FD-BC70AB6D7D84}"/>
              </a:ext>
            </a:extLst>
          </p:cNvPr>
          <p:cNvSpPr/>
          <p:nvPr/>
        </p:nvSpPr>
        <p:spPr bwMode="auto">
          <a:xfrm rot="10800000">
            <a:off x="9558597" y="9896064"/>
            <a:ext cx="2061213" cy="3920005"/>
          </a:xfrm>
          <a:prstGeom prst="chevron">
            <a:avLst>
              <a:gd name="adj" fmla="val 69967"/>
            </a:avLst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31000">
                <a:schemeClr val="bg1">
                  <a:lumMod val="75000"/>
                </a:schemeClr>
              </a:gs>
              <a:gs pos="68000">
                <a:srgbClr val="0064A6"/>
              </a:gs>
              <a:gs pos="100000">
                <a:srgbClr val="0064A6"/>
              </a:gs>
            </a:gsLst>
            <a:lin ang="108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2" name="Gleichschenkliges Dreieck 151">
            <a:extLst>
              <a:ext uri="{FF2B5EF4-FFF2-40B4-BE49-F238E27FC236}">
                <a16:creationId xmlns:a16="http://schemas.microsoft.com/office/drawing/2014/main" id="{A3786812-F555-4779-A6BA-D240E73898F7}"/>
              </a:ext>
            </a:extLst>
          </p:cNvPr>
          <p:cNvSpPr/>
          <p:nvPr/>
        </p:nvSpPr>
        <p:spPr bwMode="auto">
          <a:xfrm rot="16200000">
            <a:off x="8855665" y="11070657"/>
            <a:ext cx="3920005" cy="1570819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3000">
                <a:schemeClr val="bg1">
                  <a:lumMod val="75000"/>
                </a:schemeClr>
              </a:gs>
              <a:gs pos="56000">
                <a:srgbClr val="0064A6"/>
              </a:gs>
              <a:gs pos="100000">
                <a:srgbClr val="0064A6"/>
              </a:gs>
            </a:gsLst>
            <a:lin ang="5400000" scaled="0"/>
            <a:tileRect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1FF468BC-4401-4AF2-800C-6E75D0FD25EA}"/>
              </a:ext>
            </a:extLst>
          </p:cNvPr>
          <p:cNvSpPr/>
          <p:nvPr/>
        </p:nvSpPr>
        <p:spPr bwMode="auto">
          <a:xfrm>
            <a:off x="9641519" y="9830906"/>
            <a:ext cx="2543605" cy="40399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vert270" wrap="square" lIns="155556" tIns="155556" rIns="155556" bIns="155556" rtlCol="0" anchor="ctr" anchorCtr="1"/>
          <a:lstStyle/>
          <a:p>
            <a:pPr algn="ctr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rvices</a:t>
            </a:r>
          </a:p>
        </p:txBody>
      </p:sp>
      <p:sp>
        <p:nvSpPr>
          <p:cNvPr id="144" name="Pfeil: Chevron 143">
            <a:extLst>
              <a:ext uri="{FF2B5EF4-FFF2-40B4-BE49-F238E27FC236}">
                <a16:creationId xmlns:a16="http://schemas.microsoft.com/office/drawing/2014/main" id="{74D3628B-8864-4228-B63E-68D59FBCF5F1}"/>
              </a:ext>
            </a:extLst>
          </p:cNvPr>
          <p:cNvSpPr/>
          <p:nvPr/>
        </p:nvSpPr>
        <p:spPr bwMode="auto">
          <a:xfrm rot="10800000">
            <a:off x="11353711" y="9854995"/>
            <a:ext cx="2413919" cy="993107"/>
          </a:xfrm>
          <a:prstGeom prst="chevron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A80FC9FA-078A-406B-A166-782015EB069D}"/>
              </a:ext>
            </a:extLst>
          </p:cNvPr>
          <p:cNvSpPr txBox="1"/>
          <p:nvPr/>
        </p:nvSpPr>
        <p:spPr>
          <a:xfrm>
            <a:off x="11798140" y="9817409"/>
            <a:ext cx="2193570" cy="102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025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r-</a:t>
            </a:r>
            <a:r>
              <a:rPr lang="de-CH" sz="3025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eted</a:t>
            </a:r>
            <a:endParaRPr lang="de-CH" sz="3025" baseline="300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5BA75DA4-1DA4-44AF-8D71-92F695170082}"/>
              </a:ext>
            </a:extLst>
          </p:cNvPr>
          <p:cNvSpPr/>
          <p:nvPr/>
        </p:nvSpPr>
        <p:spPr bwMode="auto">
          <a:xfrm>
            <a:off x="35150248" y="5273925"/>
            <a:ext cx="3896106" cy="1293796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ast</a:t>
            </a:r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/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history</a:t>
            </a:r>
            <a:endParaRPr lang="de-CH" sz="432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716EC27E-DA2A-49D4-B26B-E5F5D55E870A}"/>
              </a:ext>
            </a:extLst>
          </p:cNvPr>
          <p:cNvSpPr/>
          <p:nvPr/>
        </p:nvSpPr>
        <p:spPr bwMode="auto">
          <a:xfrm>
            <a:off x="35213874" y="4446995"/>
            <a:ext cx="5505858" cy="1293796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esent</a:t>
            </a:r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/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urrent</a:t>
            </a:r>
            <a:endParaRPr lang="de-CH" sz="432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5732CD91-0CC0-4C71-897C-B78E33A4B4B8}"/>
              </a:ext>
            </a:extLst>
          </p:cNvPr>
          <p:cNvSpPr/>
          <p:nvPr/>
        </p:nvSpPr>
        <p:spPr bwMode="auto">
          <a:xfrm>
            <a:off x="35233865" y="3741813"/>
            <a:ext cx="7325951" cy="1293796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Future /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novation</a:t>
            </a:r>
            <a:endParaRPr lang="de-CH" sz="432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EBBBF25-E60D-4F42-BEE4-68ADD5A94E75}"/>
              </a:ext>
            </a:extLst>
          </p:cNvPr>
          <p:cNvSpPr/>
          <p:nvPr/>
        </p:nvSpPr>
        <p:spPr bwMode="auto">
          <a:xfrm>
            <a:off x="317545" y="5372115"/>
            <a:ext cx="40036866" cy="21490734"/>
          </a:xfrm>
          <a:prstGeom prst="rect">
            <a:avLst/>
          </a:prstGeom>
          <a:noFill/>
          <a:ln w="38100">
            <a:solidFill>
              <a:srgbClr val="8CADD8"/>
            </a:solidFill>
            <a:prstDash val="lgDash"/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5185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0CF025E-C282-4851-BF1A-DE73141F2628}"/>
              </a:ext>
            </a:extLst>
          </p:cNvPr>
          <p:cNvSpPr/>
          <p:nvPr/>
        </p:nvSpPr>
        <p:spPr bwMode="auto">
          <a:xfrm>
            <a:off x="25529981" y="27165891"/>
            <a:ext cx="7933344" cy="736963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rnal </a:t>
            </a:r>
            <a:r>
              <a:rPr lang="de-CH" sz="4321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alue</a:t>
            </a:r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321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reation</a:t>
            </a:r>
            <a:endParaRPr lang="de-CH" sz="432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F78CF5C-CF40-4A76-9E51-FCE6D935DA7A}"/>
              </a:ext>
            </a:extLst>
          </p:cNvPr>
          <p:cNvSpPr/>
          <p:nvPr/>
        </p:nvSpPr>
        <p:spPr bwMode="auto">
          <a:xfrm>
            <a:off x="16834634" y="27165891"/>
            <a:ext cx="7933344" cy="73696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xternal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alue</a:t>
            </a:r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reation</a:t>
            </a:r>
            <a:endParaRPr lang="de-CH" sz="432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E7A2F8EC-960C-4D7C-A772-7CC8F62A87F8}"/>
              </a:ext>
            </a:extLst>
          </p:cNvPr>
          <p:cNvSpPr/>
          <p:nvPr/>
        </p:nvSpPr>
        <p:spPr bwMode="auto">
          <a:xfrm>
            <a:off x="34315326" y="27165891"/>
            <a:ext cx="7933344" cy="736963"/>
          </a:xfrm>
          <a:prstGeom prst="rect">
            <a:avLst/>
          </a:prstGeom>
          <a:solidFill>
            <a:srgbClr val="F9F4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934404"/>
            <a:r>
              <a:rPr lang="de-CH" sz="4321" ker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ata </a:t>
            </a:r>
            <a:r>
              <a:rPr lang="de-CH" sz="4321" kern="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esources</a:t>
            </a:r>
            <a:endParaRPr lang="de-CH" sz="4321" kern="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grpSp>
        <p:nvGrpSpPr>
          <p:cNvPr id="167" name="Gruppieren 166">
            <a:extLst>
              <a:ext uri="{FF2B5EF4-FFF2-40B4-BE49-F238E27FC236}">
                <a16:creationId xmlns:a16="http://schemas.microsoft.com/office/drawing/2014/main" id="{04033B39-55B8-4893-BD8E-F513C774D78C}"/>
              </a:ext>
            </a:extLst>
          </p:cNvPr>
          <p:cNvGrpSpPr>
            <a:grpSpLocks noChangeAspect="1"/>
          </p:cNvGrpSpPr>
          <p:nvPr/>
        </p:nvGrpSpPr>
        <p:grpSpPr>
          <a:xfrm>
            <a:off x="12403117" y="2944593"/>
            <a:ext cx="2447290" cy="2929310"/>
            <a:chOff x="5536892" y="5529996"/>
            <a:chExt cx="718128" cy="816505"/>
          </a:xfrm>
        </p:grpSpPr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2B02FFA7-D8EE-4409-912A-C3EEF586FCE7}"/>
                </a:ext>
              </a:extLst>
            </p:cNvPr>
            <p:cNvSpPr/>
            <p:nvPr/>
          </p:nvSpPr>
          <p:spPr bwMode="auto">
            <a:xfrm>
              <a:off x="5536892" y="5529996"/>
              <a:ext cx="718128" cy="81650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lIns="155556" tIns="155556" rIns="155556" bIns="155556" rtlCol="0" anchor="ctr" anchorCtr="1"/>
            <a:lstStyle/>
            <a:p>
              <a:pPr algn="l"/>
              <a:endParaRPr lang="de-CH" sz="33911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pic>
          <p:nvPicPr>
            <p:cNvPr id="169" name="Grafik 168" descr="Benutzer">
              <a:extLst>
                <a:ext uri="{FF2B5EF4-FFF2-40B4-BE49-F238E27FC236}">
                  <a16:creationId xmlns:a16="http://schemas.microsoft.com/office/drawing/2014/main" id="{0C4F6394-C59D-4462-998C-527F8436DB14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5596285" y="5571977"/>
              <a:ext cx="593447" cy="593447"/>
            </a:xfrm>
            <a:prstGeom prst="rect">
              <a:avLst/>
            </a:prstGeom>
          </p:spPr>
        </p:pic>
        <p:sp>
          <p:nvSpPr>
            <p:cNvPr id="170" name="Textfeld 169">
              <a:extLst>
                <a:ext uri="{FF2B5EF4-FFF2-40B4-BE49-F238E27FC236}">
                  <a16:creationId xmlns:a16="http://schemas.microsoft.com/office/drawing/2014/main" id="{B5488265-3F7F-4179-9768-E5549A5F2676}"/>
                </a:ext>
              </a:extLst>
            </p:cNvPr>
            <p:cNvSpPr txBox="1"/>
            <p:nvPr/>
          </p:nvSpPr>
          <p:spPr>
            <a:xfrm>
              <a:off x="5705650" y="6062163"/>
              <a:ext cx="376400" cy="2110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4321">
                  <a:solidFill>
                    <a:srgbClr val="000000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User</a:t>
              </a:r>
              <a:endParaRPr lang="de-CH" sz="4321" baseline="300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</p:grpSp>
      <p:sp>
        <p:nvSpPr>
          <p:cNvPr id="171" name="Pfeil: gebogen 170">
            <a:extLst>
              <a:ext uri="{FF2B5EF4-FFF2-40B4-BE49-F238E27FC236}">
                <a16:creationId xmlns:a16="http://schemas.microsoft.com/office/drawing/2014/main" id="{6E211505-C055-4558-B4F1-0257FBB59BEF}"/>
              </a:ext>
            </a:extLst>
          </p:cNvPr>
          <p:cNvSpPr/>
          <p:nvPr/>
        </p:nvSpPr>
        <p:spPr bwMode="auto">
          <a:xfrm>
            <a:off x="4912224" y="2968693"/>
            <a:ext cx="7210403" cy="5433396"/>
          </a:xfrm>
          <a:prstGeom prst="bentArrow">
            <a:avLst>
              <a:gd name="adj1" fmla="val 13551"/>
              <a:gd name="adj2" fmla="val 15555"/>
              <a:gd name="adj3" fmla="val 18131"/>
              <a:gd name="adj4" fmla="val 43750"/>
            </a:avLst>
          </a:prstGeom>
          <a:solidFill>
            <a:schemeClr val="accent6">
              <a:lumMod val="50000"/>
            </a:schemeClr>
          </a:solidFill>
          <a:ln>
            <a:noFill/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lIns="155556" tIns="155556" rIns="155556" bIns="155556" rtlCol="0" anchor="ctr" anchorCtr="1"/>
          <a:lstStyle/>
          <a:p>
            <a:pPr algn="l"/>
            <a:endParaRPr lang="de-CH" sz="432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7355004F-DBED-42A7-96D8-7A4575D76CAC}"/>
              </a:ext>
            </a:extLst>
          </p:cNvPr>
          <p:cNvSpPr txBox="1"/>
          <p:nvPr/>
        </p:nvSpPr>
        <p:spPr>
          <a:xfrm>
            <a:off x="8029993" y="3381222"/>
            <a:ext cx="3866832" cy="7572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321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Offers</a:t>
            </a:r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321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rvices</a:t>
            </a:r>
            <a:endParaRPr lang="de-CH" sz="432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19" name="Pfeil: gebogen 218">
            <a:extLst>
              <a:ext uri="{FF2B5EF4-FFF2-40B4-BE49-F238E27FC236}">
                <a16:creationId xmlns:a16="http://schemas.microsoft.com/office/drawing/2014/main" id="{07BD7FFF-C2AA-4487-9400-BA7801EAD1A4}"/>
              </a:ext>
            </a:extLst>
          </p:cNvPr>
          <p:cNvSpPr/>
          <p:nvPr/>
        </p:nvSpPr>
        <p:spPr bwMode="auto">
          <a:xfrm rot="16200000" flipH="1">
            <a:off x="7202868" y="3531078"/>
            <a:ext cx="3860209" cy="5911132"/>
          </a:xfrm>
          <a:prstGeom prst="bentArrow">
            <a:avLst>
              <a:gd name="adj1" fmla="val 24348"/>
              <a:gd name="adj2" fmla="val 23284"/>
              <a:gd name="adj3" fmla="val 23529"/>
              <a:gd name="adj4" fmla="val 43750"/>
            </a:avLst>
          </a:prstGeom>
          <a:solidFill>
            <a:schemeClr val="accent6">
              <a:lumMod val="50000"/>
            </a:schemeClr>
          </a:solidFill>
          <a:ln>
            <a:noFill/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lIns="155556" tIns="155556" rIns="155556" bIns="155556" rtlCol="0" anchor="ctr" anchorCtr="1"/>
          <a:lstStyle/>
          <a:p>
            <a:pPr algn="l"/>
            <a:endParaRPr lang="de-CH" sz="432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20" name="Textfeld 219">
            <a:extLst>
              <a:ext uri="{FF2B5EF4-FFF2-40B4-BE49-F238E27FC236}">
                <a16:creationId xmlns:a16="http://schemas.microsoft.com/office/drawing/2014/main" id="{D1C2B05B-BB0E-40C9-B4FD-A6AE345239A8}"/>
              </a:ext>
            </a:extLst>
          </p:cNvPr>
          <p:cNvSpPr txBox="1"/>
          <p:nvPr/>
        </p:nvSpPr>
        <p:spPr>
          <a:xfrm>
            <a:off x="7630708" y="4641578"/>
            <a:ext cx="4521458" cy="7572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321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emands</a:t>
            </a:r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321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rvices</a:t>
            </a:r>
            <a:endParaRPr lang="de-CH" sz="432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71CD099D-B167-4A48-BEE4-08A4615D4360}"/>
              </a:ext>
            </a:extLst>
          </p:cNvPr>
          <p:cNvCxnSpPr>
            <a:cxnSpLocks/>
          </p:cNvCxnSpPr>
          <p:nvPr/>
        </p:nvCxnSpPr>
        <p:spPr>
          <a:xfrm flipV="1">
            <a:off x="40354411" y="3849778"/>
            <a:ext cx="1807855" cy="1522337"/>
          </a:xfrm>
          <a:prstGeom prst="straightConnector1">
            <a:avLst/>
          </a:prstGeom>
          <a:ln w="76200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Gerade Verbindung mit Pfeil 139">
            <a:extLst>
              <a:ext uri="{FF2B5EF4-FFF2-40B4-BE49-F238E27FC236}">
                <a16:creationId xmlns:a16="http://schemas.microsoft.com/office/drawing/2014/main" id="{4505CAB4-5138-42CE-B456-5E68364163B1}"/>
              </a:ext>
            </a:extLst>
          </p:cNvPr>
          <p:cNvCxnSpPr>
            <a:cxnSpLocks/>
          </p:cNvCxnSpPr>
          <p:nvPr/>
        </p:nvCxnSpPr>
        <p:spPr>
          <a:xfrm flipV="1">
            <a:off x="28471523" y="6312984"/>
            <a:ext cx="1719626" cy="1671689"/>
          </a:xfrm>
          <a:prstGeom prst="straightConnector1">
            <a:avLst/>
          </a:prstGeom>
          <a:ln w="76200">
            <a:solidFill>
              <a:schemeClr val="accent4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feld 159">
            <a:extLst>
              <a:ext uri="{FF2B5EF4-FFF2-40B4-BE49-F238E27FC236}">
                <a16:creationId xmlns:a16="http://schemas.microsoft.com/office/drawing/2014/main" id="{7BAF72F9-6C84-4D53-8014-DF07AAFE6D07}"/>
              </a:ext>
            </a:extLst>
          </p:cNvPr>
          <p:cNvSpPr txBox="1"/>
          <p:nvPr/>
        </p:nvSpPr>
        <p:spPr>
          <a:xfrm>
            <a:off x="8263278" y="27079102"/>
            <a:ext cx="8179120" cy="823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49"/>
              </a:spcAft>
            </a:pPr>
            <a:r>
              <a:rPr lang="de-CH" sz="4753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alue </a:t>
            </a:r>
            <a:r>
              <a:rPr lang="de-CH" sz="4753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reation</a:t>
            </a:r>
            <a:r>
              <a:rPr lang="de-CH" sz="4753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753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imensions</a:t>
            </a:r>
            <a:endParaRPr lang="de-CH" sz="4753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5551D25-7D05-E409-6972-8C0E16D603A4}"/>
              </a:ext>
            </a:extLst>
          </p:cNvPr>
          <p:cNvSpPr txBox="1"/>
          <p:nvPr/>
        </p:nvSpPr>
        <p:spPr>
          <a:xfrm>
            <a:off x="1037853" y="281788"/>
            <a:ext cx="3611504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8800" b="1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«</a:t>
            </a:r>
            <a:r>
              <a:rPr lang="de-CH" sz="8800" b="1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Application</a:t>
            </a:r>
            <a:r>
              <a:rPr lang="de-CH" sz="8800" b="1" dirty="0" err="1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-Oriented</a:t>
            </a:r>
            <a:r>
              <a:rPr lang="de-CH" sz="8800" b="1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Digital Twin Framework» </a:t>
            </a:r>
            <a:r>
              <a:rPr lang="de-CH" sz="88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(Barth et al., 2023)</a:t>
            </a:r>
            <a:endParaRPr lang="de-CH" sz="5400" dirty="0">
              <a:effectLst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796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Rechteck 130">
            <a:extLst>
              <a:ext uri="{FF2B5EF4-FFF2-40B4-BE49-F238E27FC236}">
                <a16:creationId xmlns:a16="http://schemas.microsoft.com/office/drawing/2014/main" id="{2611D40D-C331-4A65-91B5-3B679073B81A}"/>
              </a:ext>
            </a:extLst>
          </p:cNvPr>
          <p:cNvSpPr/>
          <p:nvPr/>
        </p:nvSpPr>
        <p:spPr bwMode="auto">
          <a:xfrm>
            <a:off x="2031729" y="3958110"/>
            <a:ext cx="39977833" cy="2149073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  <a:prstDash val="solid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6914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C53BF388-5199-45CD-B083-20657CE9A072}"/>
              </a:ext>
            </a:extLst>
          </p:cNvPr>
          <p:cNvSpPr/>
          <p:nvPr/>
        </p:nvSpPr>
        <p:spPr bwMode="auto">
          <a:xfrm>
            <a:off x="1098287" y="4778857"/>
            <a:ext cx="39977833" cy="214907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noFill/>
            <a:prstDash val="solid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5185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E4CC50B-FCA2-42EB-9B3B-139B12E41189}"/>
              </a:ext>
            </a:extLst>
          </p:cNvPr>
          <p:cNvSpPr/>
          <p:nvPr/>
        </p:nvSpPr>
        <p:spPr bwMode="auto">
          <a:xfrm>
            <a:off x="1886900" y="6325087"/>
            <a:ext cx="27620195" cy="908703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noFill/>
            <a:prstDash val="solid"/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6914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BE3EFFF-53B0-46F7-B98E-7DE111FD355F}"/>
              </a:ext>
            </a:extLst>
          </p:cNvPr>
          <p:cNvSpPr/>
          <p:nvPr/>
        </p:nvSpPr>
        <p:spPr bwMode="auto">
          <a:xfrm>
            <a:off x="25839786" y="12724278"/>
            <a:ext cx="2805875" cy="1244446"/>
          </a:xfrm>
          <a:prstGeom prst="rect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duct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DF4BC681-10B6-4689-BD87-B749E8E9E05C}"/>
              </a:ext>
            </a:extLst>
          </p:cNvPr>
          <p:cNvSpPr/>
          <p:nvPr/>
        </p:nvSpPr>
        <p:spPr bwMode="auto">
          <a:xfrm>
            <a:off x="25823397" y="11381642"/>
            <a:ext cx="2805875" cy="1244446"/>
          </a:xfrm>
          <a:prstGeom prst="rect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ustomer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308FD0F-AEF2-4208-8F21-0CFD387EC67B}"/>
              </a:ext>
            </a:extLst>
          </p:cNvPr>
          <p:cNvSpPr/>
          <p:nvPr/>
        </p:nvSpPr>
        <p:spPr bwMode="auto">
          <a:xfrm>
            <a:off x="25821819" y="10006403"/>
            <a:ext cx="2812783" cy="1244446"/>
          </a:xfrm>
          <a:prstGeom prst="rect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ntext</a:t>
            </a:r>
            <a:endParaRPr lang="de-CH" sz="432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F9A00B8-979E-465A-A0A0-08489F08DEB2}"/>
              </a:ext>
            </a:extLst>
          </p:cNvPr>
          <p:cNvSpPr/>
          <p:nvPr/>
        </p:nvSpPr>
        <p:spPr bwMode="auto">
          <a:xfrm>
            <a:off x="33747263" y="10546130"/>
            <a:ext cx="6403501" cy="5391935"/>
          </a:xfrm>
          <a:prstGeom prst="rect">
            <a:avLst/>
          </a:prstGeom>
          <a:solidFill>
            <a:srgbClr val="F9F4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934404"/>
            <a:endParaRPr lang="de-CH" sz="7618" kern="0">
              <a:solidFill>
                <a:prstClr val="white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483E73A6-3DFB-4BF0-B349-D1762E163548}"/>
              </a:ext>
            </a:extLst>
          </p:cNvPr>
          <p:cNvSpPr/>
          <p:nvPr/>
        </p:nvSpPr>
        <p:spPr bwMode="auto">
          <a:xfrm>
            <a:off x="1852484" y="19319789"/>
            <a:ext cx="38349229" cy="6732000"/>
          </a:xfrm>
          <a:prstGeom prst="rect">
            <a:avLst/>
          </a:prstGeom>
          <a:solidFill>
            <a:srgbClr val="F9F4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934404"/>
            <a:endParaRPr lang="de-CH" sz="7618" kern="0">
              <a:solidFill>
                <a:prstClr val="white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5D663F0-6D70-4556-99FB-930753679562}"/>
              </a:ext>
            </a:extLst>
          </p:cNvPr>
          <p:cNvSpPr/>
          <p:nvPr/>
        </p:nvSpPr>
        <p:spPr bwMode="auto">
          <a:xfrm>
            <a:off x="18747744" y="10984884"/>
            <a:ext cx="5600630" cy="3594534"/>
          </a:xfrm>
          <a:prstGeom prst="rect">
            <a:avLst/>
          </a:prstGeom>
          <a:gradFill>
            <a:gsLst>
              <a:gs pos="0">
                <a:srgbClr val="F9F499"/>
              </a:gs>
              <a:gs pos="41000">
                <a:schemeClr val="accent1"/>
              </a:gs>
            </a:gsLst>
            <a:lin ang="5400000" scaled="1"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753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mart Analysis</a:t>
            </a:r>
          </a:p>
        </p:txBody>
      </p:sp>
      <p:sp>
        <p:nvSpPr>
          <p:cNvPr id="57" name="Pfeil: Chevron 56">
            <a:extLst>
              <a:ext uri="{FF2B5EF4-FFF2-40B4-BE49-F238E27FC236}">
                <a16:creationId xmlns:a16="http://schemas.microsoft.com/office/drawing/2014/main" id="{676F4EA2-7388-453B-8B16-104581194180}"/>
              </a:ext>
            </a:extLst>
          </p:cNvPr>
          <p:cNvSpPr/>
          <p:nvPr/>
        </p:nvSpPr>
        <p:spPr bwMode="auto">
          <a:xfrm rot="10800000">
            <a:off x="20358345" y="9996722"/>
            <a:ext cx="2367019" cy="993107"/>
          </a:xfrm>
          <a:prstGeom prst="chevron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BA41DA48-D614-47B5-9A35-CCEDD440BAEA}"/>
              </a:ext>
            </a:extLst>
          </p:cNvPr>
          <p:cNvSpPr txBox="1"/>
          <p:nvPr/>
        </p:nvSpPr>
        <p:spPr>
          <a:xfrm>
            <a:off x="20897825" y="10009684"/>
            <a:ext cx="196631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uc-tured</a:t>
            </a:r>
          </a:p>
        </p:txBody>
      </p:sp>
      <p:sp>
        <p:nvSpPr>
          <p:cNvPr id="142" name="Pfeil: Chevron 141">
            <a:extLst>
              <a:ext uri="{FF2B5EF4-FFF2-40B4-BE49-F238E27FC236}">
                <a16:creationId xmlns:a16="http://schemas.microsoft.com/office/drawing/2014/main" id="{B623B52E-85E2-4FE1-AA58-187095F7DB33}"/>
              </a:ext>
            </a:extLst>
          </p:cNvPr>
          <p:cNvSpPr/>
          <p:nvPr/>
        </p:nvSpPr>
        <p:spPr bwMode="auto">
          <a:xfrm rot="10800000">
            <a:off x="22408205" y="9996714"/>
            <a:ext cx="2470156" cy="993107"/>
          </a:xfrm>
          <a:prstGeom prst="chevron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7FA66A5C-93DE-42A9-A65A-3A93CABEB0D6}"/>
              </a:ext>
            </a:extLst>
          </p:cNvPr>
          <p:cNvSpPr txBox="1"/>
          <p:nvPr/>
        </p:nvSpPr>
        <p:spPr>
          <a:xfrm>
            <a:off x="22796507" y="10006782"/>
            <a:ext cx="22480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Unstruc-tured</a:t>
            </a: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5B6C6424-0CDF-46D5-AF08-927F8BA9F7EB}"/>
              </a:ext>
            </a:extLst>
          </p:cNvPr>
          <p:cNvSpPr txBox="1"/>
          <p:nvPr/>
        </p:nvSpPr>
        <p:spPr>
          <a:xfrm>
            <a:off x="4262407" y="6596555"/>
            <a:ext cx="5204630" cy="8902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5185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alue </a:t>
            </a:r>
            <a:r>
              <a:rPr lang="de-CH" sz="5185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position</a:t>
            </a:r>
            <a:endParaRPr lang="de-CH" sz="5185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3A07D29C-0602-41BE-8AF9-A0BECAF3861D}"/>
              </a:ext>
            </a:extLst>
          </p:cNvPr>
          <p:cNvSpPr/>
          <p:nvPr/>
        </p:nvSpPr>
        <p:spPr bwMode="auto">
          <a:xfrm>
            <a:off x="30744963" y="6434927"/>
            <a:ext cx="9405805" cy="3425265"/>
          </a:xfrm>
          <a:prstGeom prst="rect">
            <a:avLst/>
          </a:prstGeom>
          <a:solidFill>
            <a:srgbClr val="F9F4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934404"/>
            <a:endParaRPr lang="de-CH" sz="7618" kern="0">
              <a:solidFill>
                <a:prstClr val="white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90" name="Sechseck 189">
            <a:extLst>
              <a:ext uri="{FF2B5EF4-FFF2-40B4-BE49-F238E27FC236}">
                <a16:creationId xmlns:a16="http://schemas.microsoft.com/office/drawing/2014/main" id="{F9F143B3-443A-4651-9732-C41FACE34ECE}"/>
              </a:ext>
            </a:extLst>
          </p:cNvPr>
          <p:cNvSpPr/>
          <p:nvPr/>
        </p:nvSpPr>
        <p:spPr bwMode="auto">
          <a:xfrm>
            <a:off x="35882467" y="13884539"/>
            <a:ext cx="2022225" cy="1088890"/>
          </a:xfrm>
          <a:prstGeom prst="hexagon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RP</a:t>
            </a:r>
          </a:p>
        </p:txBody>
      </p:sp>
      <p:sp>
        <p:nvSpPr>
          <p:cNvPr id="193" name="Sechseck 192">
            <a:extLst>
              <a:ext uri="{FF2B5EF4-FFF2-40B4-BE49-F238E27FC236}">
                <a16:creationId xmlns:a16="http://schemas.microsoft.com/office/drawing/2014/main" id="{E2D996F3-AC30-405C-9F6F-3008F22C62FB}"/>
              </a:ext>
            </a:extLst>
          </p:cNvPr>
          <p:cNvSpPr/>
          <p:nvPr/>
        </p:nvSpPr>
        <p:spPr bwMode="auto">
          <a:xfrm>
            <a:off x="34094237" y="14393198"/>
            <a:ext cx="2022225" cy="1088890"/>
          </a:xfrm>
          <a:prstGeom prst="hexagon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RM</a:t>
            </a:r>
          </a:p>
        </p:txBody>
      </p:sp>
      <p:sp>
        <p:nvSpPr>
          <p:cNvPr id="195" name="Sechseck 194">
            <a:extLst>
              <a:ext uri="{FF2B5EF4-FFF2-40B4-BE49-F238E27FC236}">
                <a16:creationId xmlns:a16="http://schemas.microsoft.com/office/drawing/2014/main" id="{3341A212-5EF7-45F2-9700-F099A6B3D6CD}"/>
              </a:ext>
            </a:extLst>
          </p:cNvPr>
          <p:cNvSpPr/>
          <p:nvPr/>
        </p:nvSpPr>
        <p:spPr bwMode="auto">
          <a:xfrm>
            <a:off x="37661904" y="14411812"/>
            <a:ext cx="2022225" cy="1088890"/>
          </a:xfrm>
          <a:prstGeom prst="hexagon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DM</a:t>
            </a:r>
          </a:p>
        </p:txBody>
      </p:sp>
      <p:sp>
        <p:nvSpPr>
          <p:cNvPr id="221" name="Textfeld 220">
            <a:extLst>
              <a:ext uri="{FF2B5EF4-FFF2-40B4-BE49-F238E27FC236}">
                <a16:creationId xmlns:a16="http://schemas.microsoft.com/office/drawing/2014/main" id="{36D5FF08-29E9-4A2E-B900-B11330207E8E}"/>
              </a:ext>
            </a:extLst>
          </p:cNvPr>
          <p:cNvSpPr txBox="1"/>
          <p:nvPr/>
        </p:nvSpPr>
        <p:spPr>
          <a:xfrm>
            <a:off x="20204988" y="7106725"/>
            <a:ext cx="8406221" cy="10232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6049" b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igital Twin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23" name="Freihand 122">
                <a:extLst>
                  <a:ext uri="{FF2B5EF4-FFF2-40B4-BE49-F238E27FC236}">
                    <a16:creationId xmlns:a16="http://schemas.microsoft.com/office/drawing/2014/main" id="{61EFCB14-9316-46A5-BF76-765C86E1FFD7}"/>
                  </a:ext>
                </a:extLst>
              </p14:cNvPr>
              <p14:cNvContentPartPr/>
              <p14:nvPr/>
            </p14:nvContentPartPr>
            <p14:xfrm>
              <a:off x="21616456" y="12140577"/>
              <a:ext cx="1556" cy="1556"/>
            </p14:xfrm>
          </p:contentPart>
        </mc:Choice>
        <mc:Fallback>
          <p:pic>
            <p:nvPicPr>
              <p:cNvPr id="123" name="Freihand 122">
                <a:extLst>
                  <a:ext uri="{FF2B5EF4-FFF2-40B4-BE49-F238E27FC236}">
                    <a16:creationId xmlns:a16="http://schemas.microsoft.com/office/drawing/2014/main" id="{61EFCB14-9316-46A5-BF76-765C86E1FFD7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1538656" y="12062777"/>
                <a:ext cx="155600" cy="155600"/>
              </a:xfrm>
              <a:prstGeom prst="rect">
                <a:avLst/>
              </a:prstGeom>
            </p:spPr>
          </p:pic>
        </mc:Fallback>
      </mc:AlternateContent>
      <p:sp>
        <p:nvSpPr>
          <p:cNvPr id="229" name="Pfeil: Chevron 228">
            <a:extLst>
              <a:ext uri="{FF2B5EF4-FFF2-40B4-BE49-F238E27FC236}">
                <a16:creationId xmlns:a16="http://schemas.microsoft.com/office/drawing/2014/main" id="{21272117-8BDD-48C4-A24F-F99DB71DDBB1}"/>
              </a:ext>
            </a:extLst>
          </p:cNvPr>
          <p:cNvSpPr/>
          <p:nvPr/>
        </p:nvSpPr>
        <p:spPr bwMode="auto">
          <a:xfrm rot="10800000">
            <a:off x="23706137" y="10021932"/>
            <a:ext cx="2061213" cy="3920005"/>
          </a:xfrm>
          <a:prstGeom prst="chevron">
            <a:avLst>
              <a:gd name="adj" fmla="val 69967"/>
            </a:avLst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0" name="Gleichschenkliges Dreieck 229">
            <a:extLst>
              <a:ext uri="{FF2B5EF4-FFF2-40B4-BE49-F238E27FC236}">
                <a16:creationId xmlns:a16="http://schemas.microsoft.com/office/drawing/2014/main" id="{DEE1D9C0-E914-42A9-9CCB-4C5C538A5AEA}"/>
              </a:ext>
            </a:extLst>
          </p:cNvPr>
          <p:cNvSpPr/>
          <p:nvPr/>
        </p:nvSpPr>
        <p:spPr bwMode="auto">
          <a:xfrm rot="16200000">
            <a:off x="22956761" y="11148641"/>
            <a:ext cx="3920005" cy="1701173"/>
          </a:xfrm>
          <a:prstGeom prst="triangle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50134D89-DE77-4A8F-AE41-64EFAB98D866}"/>
              </a:ext>
            </a:extLst>
          </p:cNvPr>
          <p:cNvSpPr/>
          <p:nvPr/>
        </p:nvSpPr>
        <p:spPr bwMode="auto">
          <a:xfrm>
            <a:off x="23850153" y="9999287"/>
            <a:ext cx="2543605" cy="40399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vert270" wrap="square" lIns="155556" tIns="155556" rIns="155556" bIns="155556" rtlCol="0" anchor="ctr" anchorCtr="1"/>
          <a:lstStyle/>
          <a:p>
            <a:pPr algn="ctr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ata</a:t>
            </a:r>
          </a:p>
        </p:txBody>
      </p:sp>
      <p:sp>
        <p:nvSpPr>
          <p:cNvPr id="240" name="Rechteck: obere Ecken abgeschnitten 239">
            <a:extLst>
              <a:ext uri="{FF2B5EF4-FFF2-40B4-BE49-F238E27FC236}">
                <a16:creationId xmlns:a16="http://schemas.microsoft.com/office/drawing/2014/main" id="{985ABCE6-C5CC-450A-9146-2B9E2DA50543}"/>
              </a:ext>
            </a:extLst>
          </p:cNvPr>
          <p:cNvSpPr/>
          <p:nvPr/>
        </p:nvSpPr>
        <p:spPr bwMode="auto">
          <a:xfrm rot="10800000">
            <a:off x="7476942" y="14332126"/>
            <a:ext cx="1400002" cy="5147334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216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42" name="Rechteck: obere Ecken abgeschnitten 241">
            <a:extLst>
              <a:ext uri="{FF2B5EF4-FFF2-40B4-BE49-F238E27FC236}">
                <a16:creationId xmlns:a16="http://schemas.microsoft.com/office/drawing/2014/main" id="{7EC3945D-07A9-4119-A1CF-64354243DD7E}"/>
              </a:ext>
            </a:extLst>
          </p:cNvPr>
          <p:cNvSpPr/>
          <p:nvPr/>
        </p:nvSpPr>
        <p:spPr bwMode="auto">
          <a:xfrm rot="10800000">
            <a:off x="5389656" y="14332126"/>
            <a:ext cx="1400002" cy="5147333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216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43" name="Textfeld 242">
            <a:extLst>
              <a:ext uri="{FF2B5EF4-FFF2-40B4-BE49-F238E27FC236}">
                <a16:creationId xmlns:a16="http://schemas.microsoft.com/office/drawing/2014/main" id="{D8A4B695-CF5B-4C09-BD0D-7968278A2591}"/>
              </a:ext>
            </a:extLst>
          </p:cNvPr>
          <p:cNvSpPr txBox="1"/>
          <p:nvPr/>
        </p:nvSpPr>
        <p:spPr>
          <a:xfrm rot="16200000">
            <a:off x="7227704" y="16291109"/>
            <a:ext cx="1951047" cy="7572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432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ntrol</a:t>
            </a:r>
          </a:p>
        </p:txBody>
      </p:sp>
      <p:sp>
        <p:nvSpPr>
          <p:cNvPr id="244" name="Textfeld 243">
            <a:extLst>
              <a:ext uri="{FF2B5EF4-FFF2-40B4-BE49-F238E27FC236}">
                <a16:creationId xmlns:a16="http://schemas.microsoft.com/office/drawing/2014/main" id="{CDD39D9D-5B03-4B44-8E74-E693A9BB5A57}"/>
              </a:ext>
            </a:extLst>
          </p:cNvPr>
          <p:cNvSpPr txBox="1"/>
          <p:nvPr/>
        </p:nvSpPr>
        <p:spPr>
          <a:xfrm rot="16200000">
            <a:off x="4439800" y="16363611"/>
            <a:ext cx="3278462" cy="7572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432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Optimization</a:t>
            </a:r>
          </a:p>
        </p:txBody>
      </p:sp>
      <p:sp>
        <p:nvSpPr>
          <p:cNvPr id="290" name="Textfeld 289">
            <a:extLst>
              <a:ext uri="{FF2B5EF4-FFF2-40B4-BE49-F238E27FC236}">
                <a16:creationId xmlns:a16="http://schemas.microsoft.com/office/drawing/2014/main" id="{D8D538C3-B900-43D4-A7B2-20B0E35D7B50}"/>
              </a:ext>
            </a:extLst>
          </p:cNvPr>
          <p:cNvSpPr txBox="1"/>
          <p:nvPr/>
        </p:nvSpPr>
        <p:spPr>
          <a:xfrm>
            <a:off x="37280840" y="21983057"/>
            <a:ext cx="4196087" cy="890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5185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ings</a:t>
            </a:r>
          </a:p>
        </p:txBody>
      </p:sp>
      <p:sp>
        <p:nvSpPr>
          <p:cNvPr id="291" name="Textfeld 290">
            <a:extLst>
              <a:ext uri="{FF2B5EF4-FFF2-40B4-BE49-F238E27FC236}">
                <a16:creationId xmlns:a16="http://schemas.microsoft.com/office/drawing/2014/main" id="{3DEC26D5-C658-4E69-8436-FE1E8880DC7E}"/>
              </a:ext>
            </a:extLst>
          </p:cNvPr>
          <p:cNvSpPr txBox="1"/>
          <p:nvPr/>
        </p:nvSpPr>
        <p:spPr>
          <a:xfrm>
            <a:off x="37012167" y="7204861"/>
            <a:ext cx="3637702" cy="1688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5185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xternal</a:t>
            </a:r>
          </a:p>
          <a:p>
            <a:r>
              <a:rPr lang="de-CH" sz="5185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s</a:t>
            </a:r>
            <a:endParaRPr lang="de-CH" sz="5185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93" name="Textfeld 292">
            <a:extLst>
              <a:ext uri="{FF2B5EF4-FFF2-40B4-BE49-F238E27FC236}">
                <a16:creationId xmlns:a16="http://schemas.microsoft.com/office/drawing/2014/main" id="{F4AE239E-B819-44F4-8681-983B891A5017}"/>
              </a:ext>
            </a:extLst>
          </p:cNvPr>
          <p:cNvSpPr txBox="1"/>
          <p:nvPr/>
        </p:nvSpPr>
        <p:spPr>
          <a:xfrm>
            <a:off x="35731469" y="11108511"/>
            <a:ext cx="2627661" cy="1688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5185" dirty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rnal</a:t>
            </a:r>
          </a:p>
          <a:p>
            <a:r>
              <a:rPr lang="de-CH" sz="5185" dirty="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s</a:t>
            </a:r>
            <a:endParaRPr lang="de-CH" sz="5185" dirty="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" name="Pfeil: nach oben und unten 3">
            <a:extLst>
              <a:ext uri="{FF2B5EF4-FFF2-40B4-BE49-F238E27FC236}">
                <a16:creationId xmlns:a16="http://schemas.microsoft.com/office/drawing/2014/main" id="{B66DC24F-6B6E-4B60-A42C-32081C1A0790}"/>
              </a:ext>
            </a:extLst>
          </p:cNvPr>
          <p:cNvSpPr/>
          <p:nvPr/>
        </p:nvSpPr>
        <p:spPr bwMode="auto">
          <a:xfrm>
            <a:off x="30918832" y="9954234"/>
            <a:ext cx="1982960" cy="9336738"/>
          </a:xfrm>
          <a:prstGeom prst="upDownArrow">
            <a:avLst>
              <a:gd name="adj1" fmla="val 50000"/>
              <a:gd name="adj2" fmla="val 50848"/>
            </a:avLst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endParaRPr lang="de-CH" sz="4753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22" name="Pfeil: gestreift nach rechts 221">
            <a:extLst>
              <a:ext uri="{FF2B5EF4-FFF2-40B4-BE49-F238E27FC236}">
                <a16:creationId xmlns:a16="http://schemas.microsoft.com/office/drawing/2014/main" id="{967F232E-F172-427C-B696-2A0701784BAB}"/>
              </a:ext>
            </a:extLst>
          </p:cNvPr>
          <p:cNvSpPr/>
          <p:nvPr/>
        </p:nvSpPr>
        <p:spPr bwMode="auto">
          <a:xfrm rot="16200000" flipH="1">
            <a:off x="17242030" y="6898769"/>
            <a:ext cx="4146499" cy="1321442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>
            <a:noFill/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lIns="155556" tIns="155556" rIns="155556" bIns="155556" rtlCol="0" anchor="ctr" anchorCtr="1"/>
          <a:lstStyle/>
          <a:p>
            <a:pPr algn="l"/>
            <a:r>
              <a:rPr lang="de-CH" sz="4321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rprets</a:t>
            </a:r>
            <a:endParaRPr lang="de-CH" sz="432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1EC7A74-5BBA-48B7-A8C0-97B4A4B628BE}"/>
              </a:ext>
            </a:extLst>
          </p:cNvPr>
          <p:cNvSpPr/>
          <p:nvPr/>
        </p:nvSpPr>
        <p:spPr bwMode="auto">
          <a:xfrm>
            <a:off x="24454729" y="6492295"/>
            <a:ext cx="3873460" cy="1293796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…of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stances</a:t>
            </a:r>
            <a:endParaRPr lang="de-CH" sz="4753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5BA75DA4-1DA4-44AF-8D71-92F695170082}"/>
              </a:ext>
            </a:extLst>
          </p:cNvPr>
          <p:cNvSpPr/>
          <p:nvPr/>
        </p:nvSpPr>
        <p:spPr bwMode="auto">
          <a:xfrm>
            <a:off x="34997547" y="5415648"/>
            <a:ext cx="3896106" cy="1293796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ast</a:t>
            </a:r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/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history</a:t>
            </a:r>
            <a:endParaRPr lang="de-CH" sz="432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716EC27E-DA2A-49D4-B26B-E5F5D55E870A}"/>
              </a:ext>
            </a:extLst>
          </p:cNvPr>
          <p:cNvSpPr/>
          <p:nvPr/>
        </p:nvSpPr>
        <p:spPr bwMode="auto">
          <a:xfrm>
            <a:off x="35061173" y="4588718"/>
            <a:ext cx="5505858" cy="1293796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esent</a:t>
            </a:r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/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urrent</a:t>
            </a:r>
            <a:endParaRPr lang="de-CH" sz="432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5732CD91-0CC0-4C71-897C-B78E33A4B4B8}"/>
              </a:ext>
            </a:extLst>
          </p:cNvPr>
          <p:cNvSpPr/>
          <p:nvPr/>
        </p:nvSpPr>
        <p:spPr bwMode="auto">
          <a:xfrm>
            <a:off x="35081164" y="3883536"/>
            <a:ext cx="7325951" cy="1293796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l"/>
            <a:r>
              <a:rPr lang="de-CH" sz="432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Future / </a:t>
            </a:r>
            <a:r>
              <a:rPr lang="de-CH" sz="4321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novation</a:t>
            </a:r>
            <a:endParaRPr lang="de-CH" sz="432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EBBBF25-E60D-4F42-BEE4-68ADD5A94E75}"/>
              </a:ext>
            </a:extLst>
          </p:cNvPr>
          <p:cNvSpPr/>
          <p:nvPr/>
        </p:nvSpPr>
        <p:spPr bwMode="auto">
          <a:xfrm>
            <a:off x="164844" y="5513838"/>
            <a:ext cx="40036866" cy="21490734"/>
          </a:xfrm>
          <a:prstGeom prst="rect">
            <a:avLst/>
          </a:prstGeom>
          <a:noFill/>
          <a:ln w="38100">
            <a:solidFill>
              <a:srgbClr val="8CADD8"/>
            </a:solidFill>
            <a:prstDash val="lgDash"/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5185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71" name="Pfeil: gebogen 170">
            <a:extLst>
              <a:ext uri="{FF2B5EF4-FFF2-40B4-BE49-F238E27FC236}">
                <a16:creationId xmlns:a16="http://schemas.microsoft.com/office/drawing/2014/main" id="{6E211505-C055-4558-B4F1-0257FBB59BEF}"/>
              </a:ext>
            </a:extLst>
          </p:cNvPr>
          <p:cNvSpPr/>
          <p:nvPr/>
        </p:nvSpPr>
        <p:spPr bwMode="auto">
          <a:xfrm>
            <a:off x="4788934" y="3023734"/>
            <a:ext cx="11975686" cy="3646976"/>
          </a:xfrm>
          <a:prstGeom prst="bentArrow">
            <a:avLst>
              <a:gd name="adj1" fmla="val 17531"/>
              <a:gd name="adj2" fmla="val 15981"/>
              <a:gd name="adj3" fmla="val 18131"/>
              <a:gd name="adj4" fmla="val 40768"/>
            </a:avLst>
          </a:prstGeom>
          <a:solidFill>
            <a:schemeClr val="accent6">
              <a:lumMod val="50000"/>
            </a:schemeClr>
          </a:solidFill>
          <a:ln>
            <a:noFill/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lIns="155556" tIns="155556" rIns="155556" bIns="155556" rtlCol="0" anchor="ctr" anchorCtr="1"/>
          <a:lstStyle/>
          <a:p>
            <a:pPr algn="l"/>
            <a:endParaRPr lang="de-CH" sz="432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grpSp>
        <p:nvGrpSpPr>
          <p:cNvPr id="167" name="Gruppieren 166">
            <a:extLst>
              <a:ext uri="{FF2B5EF4-FFF2-40B4-BE49-F238E27FC236}">
                <a16:creationId xmlns:a16="http://schemas.microsoft.com/office/drawing/2014/main" id="{04033B39-55B8-4893-BD8E-F513C774D78C}"/>
              </a:ext>
            </a:extLst>
          </p:cNvPr>
          <p:cNvGrpSpPr>
            <a:grpSpLocks noChangeAspect="1"/>
          </p:cNvGrpSpPr>
          <p:nvPr/>
        </p:nvGrpSpPr>
        <p:grpSpPr>
          <a:xfrm>
            <a:off x="17010375" y="2301926"/>
            <a:ext cx="2447290" cy="2929310"/>
            <a:chOff x="5536892" y="5529996"/>
            <a:chExt cx="718128" cy="816505"/>
          </a:xfrm>
        </p:grpSpPr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2B02FFA7-D8EE-4409-912A-C3EEF586FCE7}"/>
                </a:ext>
              </a:extLst>
            </p:cNvPr>
            <p:cNvSpPr/>
            <p:nvPr/>
          </p:nvSpPr>
          <p:spPr bwMode="auto">
            <a:xfrm>
              <a:off x="5536892" y="5529996"/>
              <a:ext cx="718128" cy="81650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lIns="155556" tIns="155556" rIns="155556" bIns="155556" rtlCol="0" anchor="ctr" anchorCtr="1"/>
            <a:lstStyle/>
            <a:p>
              <a:pPr algn="l"/>
              <a:endParaRPr lang="de-CH" sz="33911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pic>
          <p:nvPicPr>
            <p:cNvPr id="169" name="Grafik 168" descr="Benutzer">
              <a:extLst>
                <a:ext uri="{FF2B5EF4-FFF2-40B4-BE49-F238E27FC236}">
                  <a16:creationId xmlns:a16="http://schemas.microsoft.com/office/drawing/2014/main" id="{0C4F6394-C59D-4462-998C-527F8436DB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96285" y="5571977"/>
              <a:ext cx="593447" cy="593447"/>
            </a:xfrm>
            <a:prstGeom prst="rect">
              <a:avLst/>
            </a:prstGeom>
          </p:spPr>
        </p:pic>
        <p:sp>
          <p:nvSpPr>
            <p:cNvPr id="170" name="Textfeld 169">
              <a:extLst>
                <a:ext uri="{FF2B5EF4-FFF2-40B4-BE49-F238E27FC236}">
                  <a16:creationId xmlns:a16="http://schemas.microsoft.com/office/drawing/2014/main" id="{B5488265-3F7F-4179-9768-E5549A5F2676}"/>
                </a:ext>
              </a:extLst>
            </p:cNvPr>
            <p:cNvSpPr txBox="1"/>
            <p:nvPr/>
          </p:nvSpPr>
          <p:spPr>
            <a:xfrm>
              <a:off x="5705650" y="6062163"/>
              <a:ext cx="376400" cy="2110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4321">
                  <a:solidFill>
                    <a:srgbClr val="000000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User</a:t>
              </a:r>
              <a:endParaRPr lang="de-CH" sz="4321" baseline="300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</p:grpSp>
      <p:sp>
        <p:nvSpPr>
          <p:cNvPr id="53" name="Textfeld 52">
            <a:extLst>
              <a:ext uri="{FF2B5EF4-FFF2-40B4-BE49-F238E27FC236}">
                <a16:creationId xmlns:a16="http://schemas.microsoft.com/office/drawing/2014/main" id="{7355004F-DBED-42A7-96D8-7A4575D76CAC}"/>
              </a:ext>
            </a:extLst>
          </p:cNvPr>
          <p:cNvSpPr txBox="1"/>
          <p:nvPr/>
        </p:nvSpPr>
        <p:spPr>
          <a:xfrm>
            <a:off x="10236792" y="3217274"/>
            <a:ext cx="387114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32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Offers</a:t>
            </a:r>
            <a:r>
              <a:rPr lang="de-CH" sz="432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32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rvices</a:t>
            </a:r>
            <a:endParaRPr lang="de-CH" sz="432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19" name="Pfeil: gebogen 218">
            <a:extLst>
              <a:ext uri="{FF2B5EF4-FFF2-40B4-BE49-F238E27FC236}">
                <a16:creationId xmlns:a16="http://schemas.microsoft.com/office/drawing/2014/main" id="{07BD7FFF-C2AA-4487-9400-BA7801EAD1A4}"/>
              </a:ext>
            </a:extLst>
          </p:cNvPr>
          <p:cNvSpPr/>
          <p:nvPr/>
        </p:nvSpPr>
        <p:spPr bwMode="auto">
          <a:xfrm rot="16200000" flipH="1">
            <a:off x="10326782" y="396186"/>
            <a:ext cx="2025007" cy="10629160"/>
          </a:xfrm>
          <a:prstGeom prst="bentArrow">
            <a:avLst>
              <a:gd name="adj1" fmla="val 30082"/>
              <a:gd name="adj2" fmla="val 27227"/>
              <a:gd name="adj3" fmla="val 32130"/>
              <a:gd name="adj4" fmla="val 43750"/>
            </a:avLst>
          </a:prstGeom>
          <a:solidFill>
            <a:schemeClr val="accent6">
              <a:lumMod val="50000"/>
            </a:schemeClr>
          </a:solidFill>
          <a:ln>
            <a:noFill/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lIns="155556" tIns="155556" rIns="155556" bIns="155556" rtlCol="0" anchor="ctr" anchorCtr="1"/>
          <a:lstStyle/>
          <a:p>
            <a:pPr algn="l"/>
            <a:endParaRPr lang="de-CH" sz="432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20" name="Textfeld 219">
            <a:extLst>
              <a:ext uri="{FF2B5EF4-FFF2-40B4-BE49-F238E27FC236}">
                <a16:creationId xmlns:a16="http://schemas.microsoft.com/office/drawing/2014/main" id="{D1C2B05B-BB0E-40C9-B4FD-A6AE345239A8}"/>
              </a:ext>
            </a:extLst>
          </p:cNvPr>
          <p:cNvSpPr txBox="1"/>
          <p:nvPr/>
        </p:nvSpPr>
        <p:spPr>
          <a:xfrm>
            <a:off x="9916858" y="4626499"/>
            <a:ext cx="4647093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32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emands services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71CD099D-B167-4A48-BEE4-08A4615D4360}"/>
              </a:ext>
            </a:extLst>
          </p:cNvPr>
          <p:cNvCxnSpPr>
            <a:cxnSpLocks/>
          </p:cNvCxnSpPr>
          <p:nvPr/>
        </p:nvCxnSpPr>
        <p:spPr>
          <a:xfrm flipV="1">
            <a:off x="40201710" y="3991501"/>
            <a:ext cx="1807855" cy="1522337"/>
          </a:xfrm>
          <a:prstGeom prst="straightConnector1">
            <a:avLst/>
          </a:prstGeom>
          <a:ln w="76200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: abgerundete Ecken 129">
            <a:extLst>
              <a:ext uri="{FF2B5EF4-FFF2-40B4-BE49-F238E27FC236}">
                <a16:creationId xmlns:a16="http://schemas.microsoft.com/office/drawing/2014/main" id="{76F153EC-E4D2-448E-9A85-6E67BDD63F44}"/>
              </a:ext>
            </a:extLst>
          </p:cNvPr>
          <p:cNvSpPr/>
          <p:nvPr/>
        </p:nvSpPr>
        <p:spPr bwMode="auto">
          <a:xfrm>
            <a:off x="30129034" y="16620052"/>
            <a:ext cx="3815060" cy="1202216"/>
          </a:xfrm>
          <a:prstGeom prst="roundRect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ctr"/>
            <a:r>
              <a:rPr lang="de-CH" sz="48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nnectivit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7D9BFEC-4405-488E-885F-FCB4F8B4814D}"/>
              </a:ext>
            </a:extLst>
          </p:cNvPr>
          <p:cNvSpPr/>
          <p:nvPr/>
        </p:nvSpPr>
        <p:spPr bwMode="auto">
          <a:xfrm>
            <a:off x="2166954" y="9417442"/>
            <a:ext cx="7140912" cy="2225368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39500" tIns="39500" rIns="39500" bIns="39500" rtlCol="0" anchor="ctr" anchorCtr="0"/>
          <a:lstStyle/>
          <a:p>
            <a:r>
              <a:rPr lang="en-AU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etter performance</a:t>
            </a:r>
          </a:p>
          <a:p>
            <a:pPr marL="188120" indent="-188120">
              <a:buFont typeface="Wingdings" panose="05000000000000000000" pitchFamily="2" charset="2"/>
              <a:buChar char="ü"/>
            </a:pPr>
            <a:r>
              <a:rPr lang="en-AU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educed ecological footprint</a:t>
            </a:r>
          </a:p>
          <a:p>
            <a:pPr marL="188120" indent="-188120">
              <a:buFont typeface="Wingdings" panose="05000000000000000000" pitchFamily="2" charset="2"/>
              <a:buChar char="ü"/>
            </a:pPr>
            <a:r>
              <a:rPr lang="en-AU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mproved power and fuel efficiency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B1015A0F-7E52-4E0E-94AA-6E60BB024CA4}"/>
              </a:ext>
            </a:extLst>
          </p:cNvPr>
          <p:cNvSpPr/>
          <p:nvPr/>
        </p:nvSpPr>
        <p:spPr bwMode="auto">
          <a:xfrm>
            <a:off x="2146302" y="7469792"/>
            <a:ext cx="7161563" cy="165964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39500" tIns="39500" rIns="39500" bIns="39500" rtlCol="0" anchor="ctr" anchorCtr="0"/>
          <a:lstStyle/>
          <a:p>
            <a:r>
              <a:rPr lang="en-AU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creased availability</a:t>
            </a:r>
          </a:p>
          <a:p>
            <a:pPr marL="188120" indent="-188120">
              <a:buFont typeface="Wingdings" panose="05000000000000000000" pitchFamily="2" charset="2"/>
              <a:buChar char="ü"/>
            </a:pPr>
            <a:r>
              <a:rPr lang="en-AU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Of ship and crew</a:t>
            </a:r>
          </a:p>
          <a:p>
            <a:pPr marL="188120" indent="-188120">
              <a:buFont typeface="Wingdings" panose="05000000000000000000" pitchFamily="2" charset="2"/>
              <a:buChar char="ü"/>
            </a:pPr>
            <a:r>
              <a:rPr lang="en-AU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dherence to the schedule</a:t>
            </a: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180924BE-5965-4054-A5A0-BCEF206A5CF9}"/>
              </a:ext>
            </a:extLst>
          </p:cNvPr>
          <p:cNvSpPr/>
          <p:nvPr/>
        </p:nvSpPr>
        <p:spPr bwMode="auto">
          <a:xfrm>
            <a:off x="2187604" y="11930812"/>
            <a:ext cx="7148448" cy="23031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39500" tIns="39500" rIns="39500" bIns="39500" rtlCol="0" anchor="ctr" anchorCtr="0"/>
          <a:lstStyle/>
          <a:p>
            <a:r>
              <a:rPr lang="en-AU" sz="3600" dirty="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Higher quality</a:t>
            </a:r>
          </a:p>
          <a:p>
            <a:pPr marL="188120" indent="-188120">
              <a:buFont typeface="Wingdings" panose="05000000000000000000" pitchFamily="2" charset="2"/>
              <a:buChar char="ü"/>
            </a:pPr>
            <a:r>
              <a:rPr lang="en-AU" sz="3600" dirty="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assenger comfort</a:t>
            </a:r>
          </a:p>
          <a:p>
            <a:pPr marL="188120" indent="-188120">
              <a:buFont typeface="Wingdings" panose="05000000000000000000" pitchFamily="2" charset="2"/>
              <a:buChar char="ü"/>
            </a:pPr>
            <a:r>
              <a:rPr lang="en-AU" sz="3600" dirty="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Higher customer satisfaction</a:t>
            </a:r>
          </a:p>
          <a:p>
            <a:pPr marL="188120" indent="-188120">
              <a:buFont typeface="Wingdings" panose="05000000000000000000" pitchFamily="2" charset="2"/>
              <a:buChar char="ü"/>
            </a:pPr>
            <a:r>
              <a:rPr lang="en-AU" sz="3600" dirty="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creased safety and security</a:t>
            </a:r>
          </a:p>
        </p:txBody>
      </p:sp>
      <p:sp>
        <p:nvSpPr>
          <p:cNvPr id="279" name="Rechteck: abgerundete Ecken 278">
            <a:extLst>
              <a:ext uri="{FF2B5EF4-FFF2-40B4-BE49-F238E27FC236}">
                <a16:creationId xmlns:a16="http://schemas.microsoft.com/office/drawing/2014/main" id="{D19579D5-B055-4DEB-8561-C228288FDB62}"/>
              </a:ext>
            </a:extLst>
          </p:cNvPr>
          <p:cNvSpPr/>
          <p:nvPr/>
        </p:nvSpPr>
        <p:spPr bwMode="auto">
          <a:xfrm>
            <a:off x="18898733" y="12901481"/>
            <a:ext cx="2323140" cy="756000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ctr"/>
            <a:r>
              <a:rPr lang="de-CH" sz="280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I </a:t>
            </a:r>
            <a:r>
              <a:rPr lang="de-CH" sz="280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odules</a:t>
            </a:r>
            <a:endParaRPr lang="de-CH" sz="280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80" name="Rechteck: abgerundete Ecken 279">
            <a:extLst>
              <a:ext uri="{FF2B5EF4-FFF2-40B4-BE49-F238E27FC236}">
                <a16:creationId xmlns:a16="http://schemas.microsoft.com/office/drawing/2014/main" id="{795A5D56-36EB-4F63-A4B5-CC527DD7F724}"/>
              </a:ext>
            </a:extLst>
          </p:cNvPr>
          <p:cNvSpPr/>
          <p:nvPr/>
        </p:nvSpPr>
        <p:spPr bwMode="auto">
          <a:xfrm>
            <a:off x="18898733" y="13750410"/>
            <a:ext cx="2412000" cy="756000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ctr">
              <a:lnSpc>
                <a:spcPts val="3000"/>
              </a:lnSpc>
            </a:pPr>
            <a:r>
              <a:rPr lang="de-CH" sz="280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nnectivity </a:t>
            </a:r>
            <a:r>
              <a:rPr lang="de-CH" sz="280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nagement</a:t>
            </a:r>
            <a:endParaRPr lang="de-CH" sz="280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81" name="Rechteck: abgerundete Ecken 280">
            <a:extLst>
              <a:ext uri="{FF2B5EF4-FFF2-40B4-BE49-F238E27FC236}">
                <a16:creationId xmlns:a16="http://schemas.microsoft.com/office/drawing/2014/main" id="{22F24672-B46B-4A80-8A86-EA9D307F2F1E}"/>
              </a:ext>
            </a:extLst>
          </p:cNvPr>
          <p:cNvSpPr/>
          <p:nvPr/>
        </p:nvSpPr>
        <p:spPr bwMode="auto">
          <a:xfrm>
            <a:off x="18898733" y="12052553"/>
            <a:ext cx="2412000" cy="756000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ctr">
              <a:lnSpc>
                <a:spcPts val="3000"/>
              </a:lnSpc>
            </a:pPr>
            <a:r>
              <a:rPr lang="de-CH" sz="280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evice </a:t>
            </a:r>
            <a:r>
              <a:rPr lang="de-CH" sz="280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ata</a:t>
            </a:r>
            <a:r>
              <a:rPr lang="de-CH" sz="280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280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cessing</a:t>
            </a:r>
            <a:endParaRPr lang="de-CH" sz="280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82" name="Rechteck: abgerundete Ecken 281">
            <a:extLst>
              <a:ext uri="{FF2B5EF4-FFF2-40B4-BE49-F238E27FC236}">
                <a16:creationId xmlns:a16="http://schemas.microsoft.com/office/drawing/2014/main" id="{08722CDA-7E3D-4867-B8F1-731CD8600B1E}"/>
              </a:ext>
            </a:extLst>
          </p:cNvPr>
          <p:cNvSpPr/>
          <p:nvPr/>
        </p:nvSpPr>
        <p:spPr bwMode="auto">
          <a:xfrm>
            <a:off x="21571366" y="12055051"/>
            <a:ext cx="2412000" cy="756000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ctr"/>
            <a:r>
              <a:rPr lang="de-CH" sz="280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ule </a:t>
            </a:r>
            <a:r>
              <a:rPr lang="de-CH" sz="280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ngine</a:t>
            </a:r>
            <a:endParaRPr lang="de-CH" sz="280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83" name="Rechteck: abgerundete Ecken 282">
            <a:extLst>
              <a:ext uri="{FF2B5EF4-FFF2-40B4-BE49-F238E27FC236}">
                <a16:creationId xmlns:a16="http://schemas.microsoft.com/office/drawing/2014/main" id="{AC842B7F-5D59-48D2-92AC-AA3C45BA63A7}"/>
              </a:ext>
            </a:extLst>
          </p:cNvPr>
          <p:cNvSpPr/>
          <p:nvPr/>
        </p:nvSpPr>
        <p:spPr bwMode="auto">
          <a:xfrm>
            <a:off x="21834231" y="12901099"/>
            <a:ext cx="2149136" cy="756000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ctr">
              <a:lnSpc>
                <a:spcPts val="3000"/>
              </a:lnSpc>
            </a:pPr>
            <a:r>
              <a:rPr lang="de-CH" sz="280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evice </a:t>
            </a:r>
          </a:p>
          <a:p>
            <a:pPr algn="ctr">
              <a:lnSpc>
                <a:spcPts val="3000"/>
              </a:lnSpc>
            </a:pPr>
            <a:r>
              <a:rPr lang="de-CH" sz="280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nagement</a:t>
            </a:r>
            <a:endParaRPr lang="de-CH" sz="280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84" name="Rechteck: abgerundete Ecken 283">
            <a:extLst>
              <a:ext uri="{FF2B5EF4-FFF2-40B4-BE49-F238E27FC236}">
                <a16:creationId xmlns:a16="http://schemas.microsoft.com/office/drawing/2014/main" id="{D17A4C98-D453-4D46-8F1D-E14E1DCD8275}"/>
              </a:ext>
            </a:extLst>
          </p:cNvPr>
          <p:cNvSpPr/>
          <p:nvPr/>
        </p:nvSpPr>
        <p:spPr bwMode="auto">
          <a:xfrm>
            <a:off x="21571366" y="13748483"/>
            <a:ext cx="2412000" cy="756000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ctr"/>
            <a:r>
              <a:rPr lang="de-CH" sz="280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ata </a:t>
            </a:r>
            <a:r>
              <a:rPr lang="de-CH" sz="280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orage</a:t>
            </a:r>
            <a:endParaRPr lang="de-CH" sz="280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213" name="Grafik 212" descr="Zahnrad">
            <a:extLst>
              <a:ext uri="{FF2B5EF4-FFF2-40B4-BE49-F238E27FC236}">
                <a16:creationId xmlns:a16="http://schemas.microsoft.com/office/drawing/2014/main" id="{E72D3E23-D9F2-4AC6-92A3-EDBC3EF56E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0738239" y="12565162"/>
            <a:ext cx="1426956" cy="1426956"/>
          </a:xfrm>
          <a:prstGeom prst="rect">
            <a:avLst/>
          </a:prstGeom>
        </p:spPr>
      </p:pic>
      <p:pic>
        <p:nvPicPr>
          <p:cNvPr id="285" name="Grafik 284" descr="Playbook">
            <a:extLst>
              <a:ext uri="{FF2B5EF4-FFF2-40B4-BE49-F238E27FC236}">
                <a16:creationId xmlns:a16="http://schemas.microsoft.com/office/drawing/2014/main" id="{3BA3852C-9552-4142-9271-E2104827738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725813" y="8062365"/>
            <a:ext cx="775793" cy="901663"/>
          </a:xfrm>
          <a:prstGeom prst="rect">
            <a:avLst/>
          </a:prstGeom>
        </p:spPr>
      </p:pic>
      <p:pic>
        <p:nvPicPr>
          <p:cNvPr id="286" name="Grafik 285" descr="Teils Sonne">
            <a:extLst>
              <a:ext uri="{FF2B5EF4-FFF2-40B4-BE49-F238E27FC236}">
                <a16:creationId xmlns:a16="http://schemas.microsoft.com/office/drawing/2014/main" id="{F8718512-691C-4024-9E3B-80105705CEF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805045" y="7233858"/>
            <a:ext cx="775793" cy="901663"/>
          </a:xfrm>
          <a:prstGeom prst="rect">
            <a:avLst/>
          </a:prstGeom>
        </p:spPr>
      </p:pic>
      <p:pic>
        <p:nvPicPr>
          <p:cNvPr id="287" name="Grafik 286" descr="Monatskalender">
            <a:extLst>
              <a:ext uri="{FF2B5EF4-FFF2-40B4-BE49-F238E27FC236}">
                <a16:creationId xmlns:a16="http://schemas.microsoft.com/office/drawing/2014/main" id="{EA2BB48B-B181-47CD-B064-93B9F8D7AB4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771205" y="8870715"/>
            <a:ext cx="775793" cy="901663"/>
          </a:xfrm>
          <a:prstGeom prst="rect">
            <a:avLst/>
          </a:prstGeom>
        </p:spPr>
      </p:pic>
      <p:sp>
        <p:nvSpPr>
          <p:cNvPr id="292" name="Textfeld 291">
            <a:extLst>
              <a:ext uri="{FF2B5EF4-FFF2-40B4-BE49-F238E27FC236}">
                <a16:creationId xmlns:a16="http://schemas.microsoft.com/office/drawing/2014/main" id="{6FA15ACA-D594-4BAF-A300-58720AFCA2B7}"/>
              </a:ext>
            </a:extLst>
          </p:cNvPr>
          <p:cNvSpPr txBox="1"/>
          <p:nvPr/>
        </p:nvSpPr>
        <p:spPr>
          <a:xfrm>
            <a:off x="31571931" y="6550398"/>
            <a:ext cx="53610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800" dirty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assenger </a:t>
            </a:r>
            <a:r>
              <a:rPr lang="de-CH" sz="4800" dirty="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olume</a:t>
            </a:r>
            <a:endParaRPr lang="de-CH" sz="4800" dirty="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94" name="Textfeld 293">
            <a:extLst>
              <a:ext uri="{FF2B5EF4-FFF2-40B4-BE49-F238E27FC236}">
                <a16:creationId xmlns:a16="http://schemas.microsoft.com/office/drawing/2014/main" id="{A4EB84A4-BE86-4D02-90BC-B6BB460E2BCC}"/>
              </a:ext>
            </a:extLst>
          </p:cNvPr>
          <p:cNvSpPr txBox="1"/>
          <p:nvPr/>
        </p:nvSpPr>
        <p:spPr>
          <a:xfrm>
            <a:off x="31590737" y="7301262"/>
            <a:ext cx="4860816" cy="830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80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Weather</a:t>
            </a:r>
            <a:r>
              <a:rPr lang="de-CH" sz="48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ata</a:t>
            </a:r>
          </a:p>
        </p:txBody>
      </p:sp>
      <p:sp>
        <p:nvSpPr>
          <p:cNvPr id="295" name="Textfeld 294">
            <a:extLst>
              <a:ext uri="{FF2B5EF4-FFF2-40B4-BE49-F238E27FC236}">
                <a16:creationId xmlns:a16="http://schemas.microsoft.com/office/drawing/2014/main" id="{D37CA5A6-076E-42F9-948F-28514A8EAF7B}"/>
              </a:ext>
            </a:extLst>
          </p:cNvPr>
          <p:cNvSpPr txBox="1"/>
          <p:nvPr/>
        </p:nvSpPr>
        <p:spPr>
          <a:xfrm>
            <a:off x="31562586" y="8915152"/>
            <a:ext cx="4860816" cy="830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8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chedule</a:t>
            </a:r>
          </a:p>
        </p:txBody>
      </p:sp>
      <p:sp>
        <p:nvSpPr>
          <p:cNvPr id="296" name="Textfeld 295">
            <a:extLst>
              <a:ext uri="{FF2B5EF4-FFF2-40B4-BE49-F238E27FC236}">
                <a16:creationId xmlns:a16="http://schemas.microsoft.com/office/drawing/2014/main" id="{0CD9B5B8-00F6-451D-B841-4A5F956ACE25}"/>
              </a:ext>
            </a:extLst>
          </p:cNvPr>
          <p:cNvSpPr txBox="1"/>
          <p:nvPr/>
        </p:nvSpPr>
        <p:spPr>
          <a:xfrm>
            <a:off x="31590737" y="8060645"/>
            <a:ext cx="4860816" cy="830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8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p data</a:t>
            </a:r>
          </a:p>
        </p:txBody>
      </p:sp>
      <p:pic>
        <p:nvPicPr>
          <p:cNvPr id="297" name="Grafik 296" descr="Balkendiagramm RNL">
            <a:extLst>
              <a:ext uri="{FF2B5EF4-FFF2-40B4-BE49-F238E27FC236}">
                <a16:creationId xmlns:a16="http://schemas.microsoft.com/office/drawing/2014/main" id="{9995D5C2-8D55-4497-8259-CD3DC8EEF27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0762921" y="6478390"/>
            <a:ext cx="775793" cy="901663"/>
          </a:xfrm>
          <a:prstGeom prst="rect">
            <a:avLst/>
          </a:prstGeom>
        </p:spPr>
      </p:pic>
      <p:sp>
        <p:nvSpPr>
          <p:cNvPr id="315" name="Rechteck 314">
            <a:extLst>
              <a:ext uri="{FF2B5EF4-FFF2-40B4-BE49-F238E27FC236}">
                <a16:creationId xmlns:a16="http://schemas.microsoft.com/office/drawing/2014/main" id="{4146C894-F5C9-424C-8DC2-47E550B741A0}"/>
              </a:ext>
            </a:extLst>
          </p:cNvPr>
          <p:cNvSpPr/>
          <p:nvPr/>
        </p:nvSpPr>
        <p:spPr bwMode="auto">
          <a:xfrm>
            <a:off x="2187604" y="19799870"/>
            <a:ext cx="33543869" cy="877744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l"/>
            <a:r>
              <a:rPr lang="de-CH" sz="48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S Diamant</a:t>
            </a:r>
          </a:p>
        </p:txBody>
      </p:sp>
      <p:sp>
        <p:nvSpPr>
          <p:cNvPr id="96" name="Pfeil: nach oben und unten 95">
            <a:extLst>
              <a:ext uri="{FF2B5EF4-FFF2-40B4-BE49-F238E27FC236}">
                <a16:creationId xmlns:a16="http://schemas.microsoft.com/office/drawing/2014/main" id="{CA958F75-F9F1-4BE1-8992-180131D2D3D3}"/>
              </a:ext>
            </a:extLst>
          </p:cNvPr>
          <p:cNvSpPr/>
          <p:nvPr/>
        </p:nvSpPr>
        <p:spPr bwMode="auto">
          <a:xfrm rot="5400000">
            <a:off x="30158374" y="9266176"/>
            <a:ext cx="1735004" cy="5442763"/>
          </a:xfrm>
          <a:prstGeom prst="upDownArrow">
            <a:avLst>
              <a:gd name="adj1" fmla="val 50000"/>
              <a:gd name="adj2" fmla="val 50848"/>
            </a:avLst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endParaRPr lang="de-CH" sz="4753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BF601C25-E6A5-4B3C-9C29-F8F175A5CE55}"/>
              </a:ext>
            </a:extLst>
          </p:cNvPr>
          <p:cNvSpPr/>
          <p:nvPr/>
        </p:nvSpPr>
        <p:spPr>
          <a:xfrm>
            <a:off x="31288547" y="11488549"/>
            <a:ext cx="1281120" cy="7572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432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ata</a:t>
            </a:r>
          </a:p>
        </p:txBody>
      </p:sp>
      <p:sp>
        <p:nvSpPr>
          <p:cNvPr id="149" name="Pfeil: Fünfeck 148">
            <a:extLst>
              <a:ext uri="{FF2B5EF4-FFF2-40B4-BE49-F238E27FC236}">
                <a16:creationId xmlns:a16="http://schemas.microsoft.com/office/drawing/2014/main" id="{AC275B61-C843-41DD-99C6-685B6584650B}"/>
              </a:ext>
            </a:extLst>
          </p:cNvPr>
          <p:cNvSpPr/>
          <p:nvPr/>
        </p:nvSpPr>
        <p:spPr bwMode="auto">
          <a:xfrm rot="10800000">
            <a:off x="9420968" y="6696813"/>
            <a:ext cx="9211825" cy="7807146"/>
          </a:xfrm>
          <a:prstGeom prst="homePlate">
            <a:avLst>
              <a:gd name="adj" fmla="val 18362"/>
            </a:avLst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1000">
                <a:schemeClr val="bg1">
                  <a:lumMod val="75000"/>
                </a:schemeClr>
              </a:gs>
              <a:gs pos="32000">
                <a:srgbClr val="0064A6"/>
              </a:gs>
              <a:gs pos="100000">
                <a:srgbClr val="0064A6"/>
              </a:gs>
            </a:gsLst>
            <a:lin ang="108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50" name="Rechteck: abgerundete Ecken 149">
            <a:extLst>
              <a:ext uri="{FF2B5EF4-FFF2-40B4-BE49-F238E27FC236}">
                <a16:creationId xmlns:a16="http://schemas.microsoft.com/office/drawing/2014/main" id="{63E9159D-D196-4CA2-9C65-F8DC62DE8840}"/>
              </a:ext>
            </a:extLst>
          </p:cNvPr>
          <p:cNvSpPr/>
          <p:nvPr/>
        </p:nvSpPr>
        <p:spPr bwMode="auto">
          <a:xfrm>
            <a:off x="9067904" y="27283885"/>
            <a:ext cx="3173882" cy="733210"/>
          </a:xfrm>
          <a:prstGeom prst="roundRect">
            <a:avLst/>
          </a:prstGeom>
          <a:ln w="952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1119" tIns="141119" rIns="141119" bIns="141119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4000">
              <a:solidFill>
                <a:schemeClr val="accent5">
                  <a:lumMod val="50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72" name="Rechteck: abgerundete Ecken 171">
            <a:extLst>
              <a:ext uri="{FF2B5EF4-FFF2-40B4-BE49-F238E27FC236}">
                <a16:creationId xmlns:a16="http://schemas.microsoft.com/office/drawing/2014/main" id="{EE159874-C343-4CDF-AE85-5292F8429F5B}"/>
              </a:ext>
            </a:extLst>
          </p:cNvPr>
          <p:cNvSpPr/>
          <p:nvPr/>
        </p:nvSpPr>
        <p:spPr bwMode="auto">
          <a:xfrm>
            <a:off x="12596414" y="27283885"/>
            <a:ext cx="3173883" cy="733210"/>
          </a:xfrm>
          <a:prstGeom prst="roundRect">
            <a:avLst/>
          </a:prstGeom>
          <a:ln w="25400">
            <a:prstDash val="lgDash"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1119" tIns="141119" rIns="141119" bIns="141119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4000"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VG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2EA5B9F1-DE1F-4957-ACF4-A0C7BE6A9254}"/>
              </a:ext>
            </a:extLst>
          </p:cNvPr>
          <p:cNvSpPr/>
          <p:nvPr/>
        </p:nvSpPr>
        <p:spPr bwMode="auto">
          <a:xfrm>
            <a:off x="30103379" y="27322362"/>
            <a:ext cx="5868000" cy="694733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400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rnal </a:t>
            </a:r>
            <a:r>
              <a:rPr lang="de-CH" sz="400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alue</a:t>
            </a:r>
            <a:r>
              <a:rPr lang="de-CH" sz="400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00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reation</a:t>
            </a:r>
            <a:endParaRPr lang="de-CH" sz="400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9E454A97-9595-46EA-8A2A-12BEB1F29508}"/>
              </a:ext>
            </a:extLst>
          </p:cNvPr>
          <p:cNvSpPr/>
          <p:nvPr/>
        </p:nvSpPr>
        <p:spPr bwMode="auto">
          <a:xfrm>
            <a:off x="24037915" y="27322362"/>
            <a:ext cx="5868000" cy="69473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r>
              <a:rPr lang="de-CH" sz="40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xternal </a:t>
            </a:r>
            <a:r>
              <a:rPr lang="de-CH" sz="400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alue</a:t>
            </a:r>
            <a:r>
              <a:rPr lang="de-CH" sz="40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00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reation</a:t>
            </a:r>
            <a:endParaRPr lang="de-CH" sz="400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00C6DA69-AD75-45F4-A172-DCB9514B6573}"/>
              </a:ext>
            </a:extLst>
          </p:cNvPr>
          <p:cNvSpPr/>
          <p:nvPr/>
        </p:nvSpPr>
        <p:spPr bwMode="auto">
          <a:xfrm>
            <a:off x="36141562" y="27322362"/>
            <a:ext cx="5868000" cy="694733"/>
          </a:xfrm>
          <a:prstGeom prst="rect">
            <a:avLst/>
          </a:prstGeom>
          <a:solidFill>
            <a:srgbClr val="F9F4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934404"/>
            <a:r>
              <a:rPr lang="de-CH" sz="4000" ker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ata </a:t>
            </a:r>
            <a:r>
              <a:rPr lang="de-CH" sz="4000" kern="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esources</a:t>
            </a:r>
            <a:endParaRPr lang="de-CH" sz="4000" kern="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82" name="Textfeld 181">
            <a:extLst>
              <a:ext uri="{FF2B5EF4-FFF2-40B4-BE49-F238E27FC236}">
                <a16:creationId xmlns:a16="http://schemas.microsoft.com/office/drawing/2014/main" id="{0EA5B6EB-09EA-4A55-9199-09AAABB366E8}"/>
              </a:ext>
            </a:extLst>
          </p:cNvPr>
          <p:cNvSpPr txBox="1"/>
          <p:nvPr/>
        </p:nvSpPr>
        <p:spPr>
          <a:xfrm>
            <a:off x="885988" y="27309209"/>
            <a:ext cx="95631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49"/>
              </a:spcAft>
            </a:pPr>
            <a:r>
              <a:rPr lang="de-CH" sz="40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ssets and </a:t>
            </a:r>
            <a:r>
              <a:rPr lang="de-CH" sz="400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pplications</a:t>
            </a:r>
            <a:r>
              <a:rPr lang="de-CH" sz="40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00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vided</a:t>
            </a:r>
            <a:r>
              <a:rPr lang="de-CH" sz="40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00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y</a:t>
            </a:r>
            <a:endParaRPr lang="de-CH" sz="400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83" name="Textfeld 182">
            <a:extLst>
              <a:ext uri="{FF2B5EF4-FFF2-40B4-BE49-F238E27FC236}">
                <a16:creationId xmlns:a16="http://schemas.microsoft.com/office/drawing/2014/main" id="{27FE279C-1608-4D06-ACAA-D951F0095F16}"/>
              </a:ext>
            </a:extLst>
          </p:cNvPr>
          <p:cNvSpPr txBox="1"/>
          <p:nvPr/>
        </p:nvSpPr>
        <p:spPr>
          <a:xfrm>
            <a:off x="17554951" y="27309209"/>
            <a:ext cx="69840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49"/>
              </a:spcAft>
            </a:pPr>
            <a:r>
              <a:rPr lang="de-CH" sz="40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alue </a:t>
            </a:r>
            <a:r>
              <a:rPr lang="de-CH" sz="400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reation</a:t>
            </a:r>
            <a:r>
              <a:rPr lang="de-CH" sz="40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400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imensions</a:t>
            </a:r>
            <a:endParaRPr lang="de-CH" sz="400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74" name="Rechteck: abgerundete Ecken 173">
            <a:extLst>
              <a:ext uri="{FF2B5EF4-FFF2-40B4-BE49-F238E27FC236}">
                <a16:creationId xmlns:a16="http://schemas.microsoft.com/office/drawing/2014/main" id="{CA1A1531-341D-4240-912D-1E6BD9A52ACB}"/>
              </a:ext>
            </a:extLst>
          </p:cNvPr>
          <p:cNvSpPr/>
          <p:nvPr/>
        </p:nvSpPr>
        <p:spPr bwMode="auto">
          <a:xfrm>
            <a:off x="14766550" y="8690348"/>
            <a:ext cx="3695373" cy="13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en-AU" sz="32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pulsion system optimization</a:t>
            </a:r>
          </a:p>
        </p:txBody>
      </p:sp>
      <p:sp>
        <p:nvSpPr>
          <p:cNvPr id="197" name="Rechteck: abgerundete Ecken 196">
            <a:extLst>
              <a:ext uri="{FF2B5EF4-FFF2-40B4-BE49-F238E27FC236}">
                <a16:creationId xmlns:a16="http://schemas.microsoft.com/office/drawing/2014/main" id="{B9D42094-01DE-4A3B-93AD-2A729868C723}"/>
              </a:ext>
            </a:extLst>
          </p:cNvPr>
          <p:cNvSpPr/>
          <p:nvPr/>
        </p:nvSpPr>
        <p:spPr bwMode="auto">
          <a:xfrm>
            <a:off x="10857524" y="7068090"/>
            <a:ext cx="3697200" cy="13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834" tIns="35834" rIns="35834" bIns="35834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32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rror localization</a:t>
            </a:r>
          </a:p>
        </p:txBody>
      </p:sp>
      <p:sp>
        <p:nvSpPr>
          <p:cNvPr id="199" name="Rechteck: abgerundete Ecken 198">
            <a:extLst>
              <a:ext uri="{FF2B5EF4-FFF2-40B4-BE49-F238E27FC236}">
                <a16:creationId xmlns:a16="http://schemas.microsoft.com/office/drawing/2014/main" id="{0ED7A985-1091-420E-818D-C62BCF04C001}"/>
              </a:ext>
            </a:extLst>
          </p:cNvPr>
          <p:cNvSpPr/>
          <p:nvPr/>
        </p:nvSpPr>
        <p:spPr bwMode="auto">
          <a:xfrm>
            <a:off x="14772077" y="12800679"/>
            <a:ext cx="3672475" cy="13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prstDash val="lgDash"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834" tIns="35834" rIns="35834" bIns="35834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32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rew schedule</a:t>
            </a:r>
          </a:p>
        </p:txBody>
      </p:sp>
      <p:sp>
        <p:nvSpPr>
          <p:cNvPr id="201" name="Rechteck: abgerundete Ecken 200">
            <a:extLst>
              <a:ext uri="{FF2B5EF4-FFF2-40B4-BE49-F238E27FC236}">
                <a16:creationId xmlns:a16="http://schemas.microsoft.com/office/drawing/2014/main" id="{0E251FC8-BB2C-4D38-8DBE-130D30D06AD9}"/>
              </a:ext>
            </a:extLst>
          </p:cNvPr>
          <p:cNvSpPr/>
          <p:nvPr/>
        </p:nvSpPr>
        <p:spPr bwMode="auto">
          <a:xfrm>
            <a:off x="10863921" y="10320335"/>
            <a:ext cx="3697200" cy="13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prstDash val="sysDash"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834" tIns="35834" rIns="35834" bIns="35834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32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edictive &amp; faster maintenance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FB28B591-F520-43D4-B154-6F377437163B}"/>
              </a:ext>
            </a:extLst>
          </p:cNvPr>
          <p:cNvSpPr/>
          <p:nvPr/>
        </p:nvSpPr>
        <p:spPr bwMode="auto">
          <a:xfrm>
            <a:off x="9762668" y="9421804"/>
            <a:ext cx="877190" cy="250900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vert270" wrap="square" lIns="39500" tIns="39500" rIns="39500" bIns="39500" rtlCol="0" anchor="ctr" anchorCtr="1"/>
          <a:lstStyle/>
          <a:p>
            <a:pPr algn="ctr"/>
            <a:r>
              <a:rPr lang="de-CH" sz="48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rvices</a:t>
            </a:r>
          </a:p>
        </p:txBody>
      </p:sp>
      <p:sp>
        <p:nvSpPr>
          <p:cNvPr id="202" name="Rechteck: abgerundete Ecken 201">
            <a:extLst>
              <a:ext uri="{FF2B5EF4-FFF2-40B4-BE49-F238E27FC236}">
                <a16:creationId xmlns:a16="http://schemas.microsoft.com/office/drawing/2014/main" id="{E6F54CBC-1CD7-4BFD-92C1-DD58FDD8A0B7}"/>
              </a:ext>
            </a:extLst>
          </p:cNvPr>
          <p:cNvSpPr/>
          <p:nvPr/>
        </p:nvSpPr>
        <p:spPr bwMode="auto">
          <a:xfrm>
            <a:off x="10857524" y="8694212"/>
            <a:ext cx="3697200" cy="13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en-AU" sz="32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eal time ship data monitoring</a:t>
            </a:r>
          </a:p>
        </p:txBody>
      </p:sp>
      <p:pic>
        <p:nvPicPr>
          <p:cNvPr id="62466" name="Picture 2" descr="Shiptec AG | Swiss Venture Club">
            <a:extLst>
              <a:ext uri="{FF2B5EF4-FFF2-40B4-BE49-F238E27FC236}">
                <a16:creationId xmlns:a16="http://schemas.microsoft.com/office/drawing/2014/main" id="{7E346ABF-ACDB-4D45-A1C9-498EAB98B2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80" t="28521" r="7289" b="26867"/>
          <a:stretch/>
        </p:blipFill>
        <p:spPr bwMode="auto">
          <a:xfrm>
            <a:off x="9653833" y="27311939"/>
            <a:ext cx="2082472" cy="63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6" name="Rechteck 175">
            <a:extLst>
              <a:ext uri="{FF2B5EF4-FFF2-40B4-BE49-F238E27FC236}">
                <a16:creationId xmlns:a16="http://schemas.microsoft.com/office/drawing/2014/main" id="{708C70F5-0EBA-4DED-80C6-21BD6B4F53A0}"/>
              </a:ext>
            </a:extLst>
          </p:cNvPr>
          <p:cNvSpPr/>
          <p:nvPr/>
        </p:nvSpPr>
        <p:spPr bwMode="auto">
          <a:xfrm>
            <a:off x="2021027" y="6696813"/>
            <a:ext cx="16621101" cy="7871088"/>
          </a:xfrm>
          <a:prstGeom prst="rect">
            <a:avLst/>
          </a:prstGeom>
          <a:noFill/>
          <a:ln w="57150">
            <a:solidFill>
              <a:schemeClr val="tx1"/>
            </a:solidFill>
            <a:prstDash val="lgDashDotDot"/>
            <a:miter lim="800000"/>
            <a:headEnd/>
            <a:tailEnd/>
          </a:ln>
        </p:spPr>
        <p:txBody>
          <a:bodyPr wrap="square" lIns="155556" tIns="155556" rIns="155556" bIns="155556" rtlCol="0" anchor="t" anchorCtr="1"/>
          <a:lstStyle/>
          <a:p>
            <a:pPr algn="ctr"/>
            <a:endParaRPr lang="de-CH" sz="6914" b="1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03" name="Rechteck: abgerundete Ecken 202">
            <a:extLst>
              <a:ext uri="{FF2B5EF4-FFF2-40B4-BE49-F238E27FC236}">
                <a16:creationId xmlns:a16="http://schemas.microsoft.com/office/drawing/2014/main" id="{1649A33D-9E83-4166-904C-C4EF071E1C28}"/>
              </a:ext>
            </a:extLst>
          </p:cNvPr>
          <p:cNvSpPr/>
          <p:nvPr/>
        </p:nvSpPr>
        <p:spPr bwMode="auto">
          <a:xfrm>
            <a:off x="14749179" y="7056330"/>
            <a:ext cx="3695373" cy="13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en-AU" sz="32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hip health status management</a:t>
            </a:r>
          </a:p>
        </p:txBody>
      </p:sp>
      <p:sp>
        <p:nvSpPr>
          <p:cNvPr id="200" name="Rechteck: abgerundete Ecken 199">
            <a:extLst>
              <a:ext uri="{FF2B5EF4-FFF2-40B4-BE49-F238E27FC236}">
                <a16:creationId xmlns:a16="http://schemas.microsoft.com/office/drawing/2014/main" id="{E7C36B93-5340-470B-B02F-E39545B9AB8F}"/>
              </a:ext>
            </a:extLst>
          </p:cNvPr>
          <p:cNvSpPr/>
          <p:nvPr/>
        </p:nvSpPr>
        <p:spPr bwMode="auto">
          <a:xfrm>
            <a:off x="10863921" y="12815094"/>
            <a:ext cx="3697200" cy="13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prstDash val="lgDash"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834" tIns="35834" rIns="35834" bIns="35834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32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hip timetable</a:t>
            </a:r>
          </a:p>
        </p:txBody>
      </p:sp>
      <p:sp>
        <p:nvSpPr>
          <p:cNvPr id="137" name="Rechteck: abgerundete Ecken 136">
            <a:extLst>
              <a:ext uri="{FF2B5EF4-FFF2-40B4-BE49-F238E27FC236}">
                <a16:creationId xmlns:a16="http://schemas.microsoft.com/office/drawing/2014/main" id="{91EB7D8D-DC47-4D1C-B52B-5A92CD4BFF61}"/>
              </a:ext>
            </a:extLst>
          </p:cNvPr>
          <p:cNvSpPr/>
          <p:nvPr/>
        </p:nvSpPr>
        <p:spPr bwMode="auto">
          <a:xfrm>
            <a:off x="14748167" y="10324367"/>
            <a:ext cx="3695373" cy="168363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prstDash val="sysDash"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5834" tIns="35834" rIns="35834" bIns="35834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32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nergy and fuel consumption optimization</a:t>
            </a:r>
          </a:p>
        </p:txBody>
      </p:sp>
      <p:sp>
        <p:nvSpPr>
          <p:cNvPr id="144" name="Pfeil: Chevron 143">
            <a:extLst>
              <a:ext uri="{FF2B5EF4-FFF2-40B4-BE49-F238E27FC236}">
                <a16:creationId xmlns:a16="http://schemas.microsoft.com/office/drawing/2014/main" id="{74D3628B-8864-4228-B63E-68D59FBCF5F1}"/>
              </a:ext>
            </a:extLst>
          </p:cNvPr>
          <p:cNvSpPr/>
          <p:nvPr/>
        </p:nvSpPr>
        <p:spPr bwMode="auto">
          <a:xfrm rot="10800000">
            <a:off x="18267637" y="9996718"/>
            <a:ext cx="2413919" cy="993107"/>
          </a:xfrm>
          <a:prstGeom prst="chevron">
            <a:avLst/>
          </a:prstGeom>
          <a:solidFill>
            <a:srgbClr val="F9F499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A80FC9FA-078A-406B-A166-782015EB069D}"/>
              </a:ext>
            </a:extLst>
          </p:cNvPr>
          <p:cNvSpPr txBox="1"/>
          <p:nvPr/>
        </p:nvSpPr>
        <p:spPr>
          <a:xfrm>
            <a:off x="19035706" y="10009684"/>
            <a:ext cx="219357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r-</a:t>
            </a:r>
            <a:r>
              <a:rPr lang="de-CH" sz="3200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eted</a:t>
            </a:r>
            <a:endParaRPr lang="de-CH" sz="3200" baseline="300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5EA5459A-C714-402A-81A8-0FD12B486806}"/>
              </a:ext>
            </a:extLst>
          </p:cNvPr>
          <p:cNvSpPr/>
          <p:nvPr/>
        </p:nvSpPr>
        <p:spPr bwMode="auto">
          <a:xfrm>
            <a:off x="2187600" y="20674839"/>
            <a:ext cx="33543869" cy="5241657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39500" tIns="39500" rIns="39500" bIns="39500" rtlCol="0" anchor="t" anchorCtr="1"/>
          <a:lstStyle/>
          <a:p>
            <a:endParaRPr lang="de-CH" sz="28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F26B7B7-0C20-479C-BB4E-7C47C73D911F}"/>
              </a:ext>
            </a:extLst>
          </p:cNvPr>
          <p:cNvSpPr/>
          <p:nvPr/>
        </p:nvSpPr>
        <p:spPr bwMode="auto">
          <a:xfrm>
            <a:off x="2434918" y="21799252"/>
            <a:ext cx="7919999" cy="4009113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39500" tIns="39500" rIns="39500" bIns="39500" rtlCol="0" anchor="t" anchorCtr="1"/>
          <a:lstStyle/>
          <a:p>
            <a:endParaRPr lang="de-CH" sz="28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2E8FA61C-304F-41CC-BCC1-DF9946EA042F}"/>
              </a:ext>
            </a:extLst>
          </p:cNvPr>
          <p:cNvSpPr/>
          <p:nvPr/>
        </p:nvSpPr>
        <p:spPr bwMode="auto">
          <a:xfrm>
            <a:off x="2434919" y="20836909"/>
            <a:ext cx="7919999" cy="877744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l"/>
            <a:r>
              <a:rPr lang="de-CH" sz="48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pulsion </a:t>
            </a:r>
            <a:r>
              <a:rPr lang="de-CH" sz="480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</a:t>
            </a:r>
            <a:endParaRPr lang="de-CH" sz="480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01" name="Rechteck 300">
            <a:extLst>
              <a:ext uri="{FF2B5EF4-FFF2-40B4-BE49-F238E27FC236}">
                <a16:creationId xmlns:a16="http://schemas.microsoft.com/office/drawing/2014/main" id="{FB40F7EC-0DC9-4455-9B91-329B0C73986C}"/>
              </a:ext>
            </a:extLst>
          </p:cNvPr>
          <p:cNvSpPr/>
          <p:nvPr/>
        </p:nvSpPr>
        <p:spPr bwMode="auto">
          <a:xfrm>
            <a:off x="10888529" y="21799252"/>
            <a:ext cx="7919999" cy="4009113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39500" tIns="39500" rIns="39500" bIns="39500" rtlCol="0" anchor="t" anchorCtr="1"/>
          <a:lstStyle/>
          <a:p>
            <a:endParaRPr lang="de-CH" sz="28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04" name="Rechteck: abgerundete Ecken 303">
            <a:extLst>
              <a:ext uri="{FF2B5EF4-FFF2-40B4-BE49-F238E27FC236}">
                <a16:creationId xmlns:a16="http://schemas.microsoft.com/office/drawing/2014/main" id="{A05A16A4-D110-457F-B1B7-98B1C2A8DA91}"/>
              </a:ext>
            </a:extLst>
          </p:cNvPr>
          <p:cNvSpPr/>
          <p:nvPr/>
        </p:nvSpPr>
        <p:spPr bwMode="auto">
          <a:xfrm>
            <a:off x="2520870" y="22657101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ruster</a:t>
            </a:r>
          </a:p>
        </p:txBody>
      </p:sp>
      <p:sp>
        <p:nvSpPr>
          <p:cNvPr id="305" name="Rechteck: abgerundete Ecken 304">
            <a:extLst>
              <a:ext uri="{FF2B5EF4-FFF2-40B4-BE49-F238E27FC236}">
                <a16:creationId xmlns:a16="http://schemas.microsoft.com/office/drawing/2014/main" id="{44908CF2-919A-469F-920E-499D9F802433}"/>
              </a:ext>
            </a:extLst>
          </p:cNvPr>
          <p:cNvSpPr/>
          <p:nvPr/>
        </p:nvSpPr>
        <p:spPr bwMode="auto">
          <a:xfrm>
            <a:off x="2520870" y="23426559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nk</a:t>
            </a:r>
          </a:p>
        </p:txBody>
      </p:sp>
      <p:sp>
        <p:nvSpPr>
          <p:cNvPr id="306" name="Rechteck: abgerundete Ecken 305">
            <a:extLst>
              <a:ext uri="{FF2B5EF4-FFF2-40B4-BE49-F238E27FC236}">
                <a16:creationId xmlns:a16="http://schemas.microsoft.com/office/drawing/2014/main" id="{ACC89CD1-1E31-4859-81E6-E001194AB9D3}"/>
              </a:ext>
            </a:extLst>
          </p:cNvPr>
          <p:cNvSpPr/>
          <p:nvPr/>
        </p:nvSpPr>
        <p:spPr bwMode="auto">
          <a:xfrm>
            <a:off x="2520870" y="21887643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 anchor="ctr" anchorCtr="1">
            <a:spAutoFit/>
          </a:bodyPr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ngines</a:t>
            </a:r>
          </a:p>
        </p:txBody>
      </p:sp>
      <p:sp>
        <p:nvSpPr>
          <p:cNvPr id="308" name="Rechteck: abgerundete Ecken 307">
            <a:extLst>
              <a:ext uri="{FF2B5EF4-FFF2-40B4-BE49-F238E27FC236}">
                <a16:creationId xmlns:a16="http://schemas.microsoft.com/office/drawing/2014/main" id="{C2941FFC-9033-4701-BC14-3F350694999B}"/>
              </a:ext>
            </a:extLst>
          </p:cNvPr>
          <p:cNvSpPr/>
          <p:nvPr/>
        </p:nvSpPr>
        <p:spPr bwMode="auto">
          <a:xfrm>
            <a:off x="2520870" y="24196017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attery</a:t>
            </a:r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3600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acks</a:t>
            </a:r>
            <a:endParaRPr lang="de-CH" sz="36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09" name="Rechteck: abgerundete Ecken 308">
            <a:extLst>
              <a:ext uri="{FF2B5EF4-FFF2-40B4-BE49-F238E27FC236}">
                <a16:creationId xmlns:a16="http://schemas.microsoft.com/office/drawing/2014/main" id="{DDC16BB3-2972-46E5-A777-1CF3A6E39B45}"/>
              </a:ext>
            </a:extLst>
          </p:cNvPr>
          <p:cNvSpPr/>
          <p:nvPr/>
        </p:nvSpPr>
        <p:spPr bwMode="auto">
          <a:xfrm>
            <a:off x="6561356" y="22516000"/>
            <a:ext cx="3600000" cy="183880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 anchor="ctr" anchorCtr="1">
            <a:spAutoFit/>
          </a:bodyPr>
          <a:lstStyle/>
          <a:p>
            <a:pPr algn="ctr"/>
            <a:r>
              <a:rPr lang="de-CH" sz="3600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haft-driven</a:t>
            </a:r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3600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generators</a:t>
            </a:r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/ </a:t>
            </a:r>
            <a:r>
              <a:rPr lang="de-CH" sz="3600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otors</a:t>
            </a:r>
            <a:endParaRPr lang="de-CH" sz="36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10" name="Rechteck: abgerundete Ecken 309">
            <a:extLst>
              <a:ext uri="{FF2B5EF4-FFF2-40B4-BE49-F238E27FC236}">
                <a16:creationId xmlns:a16="http://schemas.microsoft.com/office/drawing/2014/main" id="{FDA5F081-C92D-475F-B803-5F1C16EF42E6}"/>
              </a:ext>
            </a:extLst>
          </p:cNvPr>
          <p:cNvSpPr/>
          <p:nvPr/>
        </p:nvSpPr>
        <p:spPr bwMode="auto">
          <a:xfrm>
            <a:off x="2520870" y="24965476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 anchor="ctr" anchorCtr="1">
            <a:spAutoFit/>
          </a:bodyPr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Generators</a:t>
            </a: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FAD8090B-8A7B-48DE-8EB1-1949F2CA657C}"/>
              </a:ext>
            </a:extLst>
          </p:cNvPr>
          <p:cNvSpPr/>
          <p:nvPr/>
        </p:nvSpPr>
        <p:spPr bwMode="auto">
          <a:xfrm>
            <a:off x="19244310" y="21778248"/>
            <a:ext cx="7919999" cy="4009113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39500" tIns="39500" rIns="39500" bIns="39500" rtlCol="0" anchor="t" anchorCtr="1"/>
          <a:lstStyle/>
          <a:p>
            <a:endParaRPr lang="de-CH" sz="28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8CE70572-4FD6-45D0-A117-FA5BF82299CF}"/>
              </a:ext>
            </a:extLst>
          </p:cNvPr>
          <p:cNvSpPr/>
          <p:nvPr/>
        </p:nvSpPr>
        <p:spPr bwMode="auto">
          <a:xfrm>
            <a:off x="19234214" y="20836909"/>
            <a:ext cx="7919999" cy="84054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l"/>
            <a:r>
              <a:rPr lang="de-CH" sz="48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mmand </a:t>
            </a:r>
            <a:r>
              <a:rPr lang="de-CH" sz="4800" err="1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ridge</a:t>
            </a:r>
            <a:endParaRPr lang="de-CH" sz="480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23E8252A-3F8B-4671-B133-32A09E33A05B}"/>
              </a:ext>
            </a:extLst>
          </p:cNvPr>
          <p:cNvSpPr/>
          <p:nvPr/>
        </p:nvSpPr>
        <p:spPr bwMode="auto">
          <a:xfrm>
            <a:off x="27595450" y="21778248"/>
            <a:ext cx="7919999" cy="4009113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39500" tIns="39500" rIns="39500" bIns="39500" rtlCol="0" anchor="t" anchorCtr="1"/>
          <a:lstStyle/>
          <a:p>
            <a:endParaRPr lang="de-CH" sz="28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14" name="Rechteck 313">
            <a:extLst>
              <a:ext uri="{FF2B5EF4-FFF2-40B4-BE49-F238E27FC236}">
                <a16:creationId xmlns:a16="http://schemas.microsoft.com/office/drawing/2014/main" id="{113A7B5B-A82D-4BDA-B923-104C88CE54A4}"/>
              </a:ext>
            </a:extLst>
          </p:cNvPr>
          <p:cNvSpPr/>
          <p:nvPr/>
        </p:nvSpPr>
        <p:spPr bwMode="auto">
          <a:xfrm>
            <a:off x="27582280" y="20834288"/>
            <a:ext cx="7919999" cy="843663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l"/>
            <a:r>
              <a:rPr lang="de-CH" sz="48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Kitchen</a:t>
            </a:r>
          </a:p>
        </p:txBody>
      </p:sp>
      <p:sp>
        <p:nvSpPr>
          <p:cNvPr id="316" name="Rechteck 315">
            <a:extLst>
              <a:ext uri="{FF2B5EF4-FFF2-40B4-BE49-F238E27FC236}">
                <a16:creationId xmlns:a16="http://schemas.microsoft.com/office/drawing/2014/main" id="{411886DC-048D-4B57-94FB-E712033A4A12}"/>
              </a:ext>
            </a:extLst>
          </p:cNvPr>
          <p:cNvSpPr/>
          <p:nvPr/>
        </p:nvSpPr>
        <p:spPr bwMode="auto">
          <a:xfrm>
            <a:off x="10886148" y="20836909"/>
            <a:ext cx="7919999" cy="87019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wrap="square" lIns="39500" tIns="39500" rIns="39500" bIns="39500" rtlCol="0" anchor="ctr" anchorCtr="1"/>
          <a:lstStyle/>
          <a:p>
            <a:pPr algn="l"/>
            <a:r>
              <a:rPr lang="de-CH" sz="480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HVAC</a:t>
            </a:r>
          </a:p>
        </p:txBody>
      </p:sp>
      <p:sp>
        <p:nvSpPr>
          <p:cNvPr id="317" name="Rechteck: abgerundete Ecken 316">
            <a:extLst>
              <a:ext uri="{FF2B5EF4-FFF2-40B4-BE49-F238E27FC236}">
                <a16:creationId xmlns:a16="http://schemas.microsoft.com/office/drawing/2014/main" id="{F4A41CDA-3C00-4F7B-8326-3A271F5A7623}"/>
              </a:ext>
            </a:extLst>
          </p:cNvPr>
          <p:cNvSpPr/>
          <p:nvPr/>
        </p:nvSpPr>
        <p:spPr bwMode="auto">
          <a:xfrm>
            <a:off x="10991255" y="21898327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oling unit</a:t>
            </a:r>
          </a:p>
        </p:txBody>
      </p:sp>
      <p:sp>
        <p:nvSpPr>
          <p:cNvPr id="318" name="Rechteck: abgerundete Ecken 317">
            <a:extLst>
              <a:ext uri="{FF2B5EF4-FFF2-40B4-BE49-F238E27FC236}">
                <a16:creationId xmlns:a16="http://schemas.microsoft.com/office/drawing/2014/main" id="{4EB15C98-FAE2-4E98-AEB7-06C84B1A8FC1}"/>
              </a:ext>
            </a:extLst>
          </p:cNvPr>
          <p:cNvSpPr/>
          <p:nvPr/>
        </p:nvSpPr>
        <p:spPr bwMode="auto">
          <a:xfrm>
            <a:off x="10991255" y="22687033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entilation</a:t>
            </a:r>
          </a:p>
        </p:txBody>
      </p:sp>
      <p:sp>
        <p:nvSpPr>
          <p:cNvPr id="319" name="Rechteck: abgerundete Ecken 318">
            <a:extLst>
              <a:ext uri="{FF2B5EF4-FFF2-40B4-BE49-F238E27FC236}">
                <a16:creationId xmlns:a16="http://schemas.microsoft.com/office/drawing/2014/main" id="{F7FBF3E6-F097-412E-9C4C-AB58ADB811E8}"/>
              </a:ext>
            </a:extLst>
          </p:cNvPr>
          <p:cNvSpPr/>
          <p:nvPr/>
        </p:nvSpPr>
        <p:spPr bwMode="auto">
          <a:xfrm>
            <a:off x="10991255" y="23475739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adiators</a:t>
            </a:r>
          </a:p>
        </p:txBody>
      </p:sp>
      <p:sp>
        <p:nvSpPr>
          <p:cNvPr id="321" name="Rechteck: abgerundete Ecken 320">
            <a:extLst>
              <a:ext uri="{FF2B5EF4-FFF2-40B4-BE49-F238E27FC236}">
                <a16:creationId xmlns:a16="http://schemas.microsoft.com/office/drawing/2014/main" id="{B82F2019-EE25-40C9-B543-477719BCC41C}"/>
              </a:ext>
            </a:extLst>
          </p:cNvPr>
          <p:cNvSpPr/>
          <p:nvPr/>
        </p:nvSpPr>
        <p:spPr bwMode="auto">
          <a:xfrm>
            <a:off x="10991255" y="24264446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awater</a:t>
            </a:r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3600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oling</a:t>
            </a:r>
            <a:endParaRPr lang="de-CH" sz="36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23" name="Rechteck: abgerundete Ecken 322">
            <a:extLst>
              <a:ext uri="{FF2B5EF4-FFF2-40B4-BE49-F238E27FC236}">
                <a16:creationId xmlns:a16="http://schemas.microsoft.com/office/drawing/2014/main" id="{E00B9B5D-D07E-46DF-820F-B7B20E7D04D8}"/>
              </a:ext>
            </a:extLst>
          </p:cNvPr>
          <p:cNvSpPr/>
          <p:nvPr/>
        </p:nvSpPr>
        <p:spPr bwMode="auto">
          <a:xfrm>
            <a:off x="23396415" y="23180623"/>
            <a:ext cx="3600000" cy="11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mmunication system</a:t>
            </a:r>
          </a:p>
        </p:txBody>
      </p:sp>
      <p:sp>
        <p:nvSpPr>
          <p:cNvPr id="324" name="Rechteck: abgerundete Ecken 323">
            <a:extLst>
              <a:ext uri="{FF2B5EF4-FFF2-40B4-BE49-F238E27FC236}">
                <a16:creationId xmlns:a16="http://schemas.microsoft.com/office/drawing/2014/main" id="{4B8E4442-A32F-424C-94D1-BA792FD7CBBB}"/>
              </a:ext>
            </a:extLst>
          </p:cNvPr>
          <p:cNvSpPr/>
          <p:nvPr/>
        </p:nvSpPr>
        <p:spPr bwMode="auto">
          <a:xfrm>
            <a:off x="19371959" y="21904170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larm </a:t>
            </a:r>
            <a:r>
              <a:rPr lang="de-CH" sz="3600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ystem</a:t>
            </a:r>
            <a:endParaRPr lang="de-CH" sz="360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25" name="Rechteck: abgerundete Ecken 324">
            <a:extLst>
              <a:ext uri="{FF2B5EF4-FFF2-40B4-BE49-F238E27FC236}">
                <a16:creationId xmlns:a16="http://schemas.microsoft.com/office/drawing/2014/main" id="{F7E0600F-0456-4B80-908E-5CAA68415051}"/>
              </a:ext>
            </a:extLst>
          </p:cNvPr>
          <p:cNvSpPr/>
          <p:nvPr/>
        </p:nvSpPr>
        <p:spPr bwMode="auto">
          <a:xfrm>
            <a:off x="27754142" y="21907664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oling devices</a:t>
            </a:r>
          </a:p>
        </p:txBody>
      </p:sp>
      <p:sp>
        <p:nvSpPr>
          <p:cNvPr id="326" name="Rechteck: abgerundete Ecken 325">
            <a:extLst>
              <a:ext uri="{FF2B5EF4-FFF2-40B4-BE49-F238E27FC236}">
                <a16:creationId xmlns:a16="http://schemas.microsoft.com/office/drawing/2014/main" id="{FB11BA70-EA5D-42D5-A64C-D0572A2C842A}"/>
              </a:ext>
            </a:extLst>
          </p:cNvPr>
          <p:cNvSpPr/>
          <p:nvPr/>
        </p:nvSpPr>
        <p:spPr bwMode="auto">
          <a:xfrm>
            <a:off x="23396415" y="21899907"/>
            <a:ext cx="3600000" cy="11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CTV</a:t>
            </a:r>
          </a:p>
        </p:txBody>
      </p:sp>
      <p:sp>
        <p:nvSpPr>
          <p:cNvPr id="151" name="Rechteck: abgerundete Ecken 150">
            <a:extLst>
              <a:ext uri="{FF2B5EF4-FFF2-40B4-BE49-F238E27FC236}">
                <a16:creationId xmlns:a16="http://schemas.microsoft.com/office/drawing/2014/main" id="{1D486EA4-D590-45D4-981E-4C5B11BDE60A}"/>
              </a:ext>
            </a:extLst>
          </p:cNvPr>
          <p:cNvSpPr/>
          <p:nvPr/>
        </p:nvSpPr>
        <p:spPr bwMode="auto">
          <a:xfrm>
            <a:off x="23396415" y="24461340"/>
            <a:ext cx="3600000" cy="11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assenger counter </a:t>
            </a:r>
          </a:p>
        </p:txBody>
      </p:sp>
      <p:sp>
        <p:nvSpPr>
          <p:cNvPr id="152" name="Rechteck: abgerundete Ecken 151">
            <a:extLst>
              <a:ext uri="{FF2B5EF4-FFF2-40B4-BE49-F238E27FC236}">
                <a16:creationId xmlns:a16="http://schemas.microsoft.com/office/drawing/2014/main" id="{32D73E33-760A-4300-BFCD-528CD5A6D6B7}"/>
              </a:ext>
            </a:extLst>
          </p:cNvPr>
          <p:cNvSpPr/>
          <p:nvPr/>
        </p:nvSpPr>
        <p:spPr bwMode="auto">
          <a:xfrm>
            <a:off x="27759460" y="22729445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oking devices</a:t>
            </a:r>
          </a:p>
        </p:txBody>
      </p:sp>
      <p:sp>
        <p:nvSpPr>
          <p:cNvPr id="153" name="Rechteck: abgerundete Ecken 152">
            <a:extLst>
              <a:ext uri="{FF2B5EF4-FFF2-40B4-BE49-F238E27FC236}">
                <a16:creationId xmlns:a16="http://schemas.microsoft.com/office/drawing/2014/main" id="{37EE885E-DAC3-41C7-BC2C-EF7CAEBE7523}"/>
              </a:ext>
            </a:extLst>
          </p:cNvPr>
          <p:cNvSpPr/>
          <p:nvPr/>
        </p:nvSpPr>
        <p:spPr bwMode="auto">
          <a:xfrm>
            <a:off x="31703067" y="21907218"/>
            <a:ext cx="3600000" cy="11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leaning machines</a:t>
            </a:r>
          </a:p>
        </p:txBody>
      </p:sp>
      <p:sp>
        <p:nvSpPr>
          <p:cNvPr id="160" name="Rechteck: abgerundete Ecken 159">
            <a:extLst>
              <a:ext uri="{FF2B5EF4-FFF2-40B4-BE49-F238E27FC236}">
                <a16:creationId xmlns:a16="http://schemas.microsoft.com/office/drawing/2014/main" id="{6352B5E7-7EEC-4675-BC0E-5614AEABC0CF}"/>
              </a:ext>
            </a:extLst>
          </p:cNvPr>
          <p:cNvSpPr/>
          <p:nvPr/>
        </p:nvSpPr>
        <p:spPr bwMode="auto">
          <a:xfrm>
            <a:off x="19371959" y="22707208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GPS</a:t>
            </a:r>
          </a:p>
        </p:txBody>
      </p:sp>
      <p:sp>
        <p:nvSpPr>
          <p:cNvPr id="165" name="Rechteck: abgerundete Ecken 164">
            <a:extLst>
              <a:ext uri="{FF2B5EF4-FFF2-40B4-BE49-F238E27FC236}">
                <a16:creationId xmlns:a16="http://schemas.microsoft.com/office/drawing/2014/main" id="{3CBA21A3-895C-45BC-A6AE-0C8B6B0CD560}"/>
              </a:ext>
            </a:extLst>
          </p:cNvPr>
          <p:cNvSpPr/>
          <p:nvPr/>
        </p:nvSpPr>
        <p:spPr bwMode="auto">
          <a:xfrm>
            <a:off x="19371959" y="23510246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adar</a:t>
            </a:r>
          </a:p>
        </p:txBody>
      </p:sp>
      <p:sp>
        <p:nvSpPr>
          <p:cNvPr id="166" name="Rechteck: abgerundete Ecken 165">
            <a:extLst>
              <a:ext uri="{FF2B5EF4-FFF2-40B4-BE49-F238E27FC236}">
                <a16:creationId xmlns:a16="http://schemas.microsoft.com/office/drawing/2014/main" id="{5794D95E-4C18-43F2-B3B9-7FA614A64A1C}"/>
              </a:ext>
            </a:extLst>
          </p:cNvPr>
          <p:cNvSpPr/>
          <p:nvPr/>
        </p:nvSpPr>
        <p:spPr bwMode="auto">
          <a:xfrm>
            <a:off x="19371959" y="24313284"/>
            <a:ext cx="3600000" cy="72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5834" tIns="35834" rIns="35834" bIns="35834" rtlCol="0" anchor="ctr" anchorCtr="1"/>
          <a:lstStyle/>
          <a:p>
            <a:pPr algn="ctr"/>
            <a:r>
              <a:rPr lang="de-CH" sz="360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nemometer</a:t>
            </a:r>
          </a:p>
        </p:txBody>
      </p:sp>
      <p:sp>
        <p:nvSpPr>
          <p:cNvPr id="2" name="Pfeil: gebogen 1">
            <a:extLst>
              <a:ext uri="{FF2B5EF4-FFF2-40B4-BE49-F238E27FC236}">
                <a16:creationId xmlns:a16="http://schemas.microsoft.com/office/drawing/2014/main" id="{4308E67F-7656-4007-EB64-C7C49526AB3B}"/>
              </a:ext>
            </a:extLst>
          </p:cNvPr>
          <p:cNvSpPr/>
          <p:nvPr/>
        </p:nvSpPr>
        <p:spPr bwMode="auto">
          <a:xfrm rot="5400000" flipH="1">
            <a:off x="25981586" y="16409669"/>
            <a:ext cx="3111124" cy="3111120"/>
          </a:xfrm>
          <a:prstGeom prst="bentArrow">
            <a:avLst>
              <a:gd name="adj1" fmla="val 25000"/>
              <a:gd name="adj2" fmla="val 25000"/>
              <a:gd name="adj3" fmla="val 0"/>
              <a:gd name="adj4" fmla="val 43750"/>
            </a:avLst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3" name="Pfeil: gebogen 2">
            <a:extLst>
              <a:ext uri="{FF2B5EF4-FFF2-40B4-BE49-F238E27FC236}">
                <a16:creationId xmlns:a16="http://schemas.microsoft.com/office/drawing/2014/main" id="{595C853E-7080-84AE-296C-B20F06C26D21}"/>
              </a:ext>
            </a:extLst>
          </p:cNvPr>
          <p:cNvSpPr/>
          <p:nvPr/>
        </p:nvSpPr>
        <p:spPr bwMode="auto">
          <a:xfrm rot="10800000" flipH="1">
            <a:off x="10808460" y="16795610"/>
            <a:ext cx="16022244" cy="3111115"/>
          </a:xfrm>
          <a:prstGeom prst="bentArrow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47000">
                <a:schemeClr val="bg1">
                  <a:lumMod val="75000"/>
                </a:schemeClr>
              </a:gs>
              <a:gs pos="86000">
                <a:srgbClr val="0064A6"/>
              </a:gs>
              <a:gs pos="100000">
                <a:srgbClr val="0064A6"/>
              </a:gs>
            </a:gsLst>
            <a:lin ang="54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endParaRPr lang="de-CH" sz="5185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Pfeil: gebogen 4">
            <a:extLst>
              <a:ext uri="{FF2B5EF4-FFF2-40B4-BE49-F238E27FC236}">
                <a16:creationId xmlns:a16="http://schemas.microsoft.com/office/drawing/2014/main" id="{F85A77FA-88B6-8E9C-D0B1-49AD7E22EC22}"/>
              </a:ext>
            </a:extLst>
          </p:cNvPr>
          <p:cNvSpPr/>
          <p:nvPr/>
        </p:nvSpPr>
        <p:spPr bwMode="auto">
          <a:xfrm rot="16200000" flipH="1">
            <a:off x="16649601" y="8601194"/>
            <a:ext cx="3111115" cy="15554302"/>
          </a:xfrm>
          <a:prstGeom prst="bentArrow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l"/>
            <a:endParaRPr lang="de-CH" sz="33911" b="1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CC9C909-3738-CB32-C7C3-55E80B87F0B3}"/>
              </a:ext>
            </a:extLst>
          </p:cNvPr>
          <p:cNvSpPr/>
          <p:nvPr/>
        </p:nvSpPr>
        <p:spPr>
          <a:xfrm>
            <a:off x="17608698" y="18749269"/>
            <a:ext cx="3541034" cy="757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iddle-of-Lif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13FA47D-DC96-C12D-DC42-AF9A8AC7B951}"/>
              </a:ext>
            </a:extLst>
          </p:cNvPr>
          <p:cNvSpPr/>
          <p:nvPr/>
        </p:nvSpPr>
        <p:spPr>
          <a:xfrm>
            <a:off x="17223416" y="14788829"/>
            <a:ext cx="4291239" cy="757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sz="4321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eginning</a:t>
            </a:r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-of-Life</a:t>
            </a:r>
          </a:p>
        </p:txBody>
      </p:sp>
      <p:sp>
        <p:nvSpPr>
          <p:cNvPr id="9" name="Pfeil: gebogen 8">
            <a:extLst>
              <a:ext uri="{FF2B5EF4-FFF2-40B4-BE49-F238E27FC236}">
                <a16:creationId xmlns:a16="http://schemas.microsoft.com/office/drawing/2014/main" id="{396FBA85-0D99-4F0E-9263-BE1C6CD63EF2}"/>
              </a:ext>
            </a:extLst>
          </p:cNvPr>
          <p:cNvSpPr/>
          <p:nvPr/>
        </p:nvSpPr>
        <p:spPr bwMode="auto">
          <a:xfrm flipH="1">
            <a:off x="25598655" y="14436942"/>
            <a:ext cx="3111115" cy="3089869"/>
          </a:xfrm>
          <a:prstGeom prst="bentArrow">
            <a:avLst/>
          </a:prstGeom>
          <a:gradFill flip="none" rotWithShape="1">
            <a:gsLst>
              <a:gs pos="0">
                <a:srgbClr val="0064A6"/>
              </a:gs>
              <a:gs pos="59000">
                <a:srgbClr val="0070C0"/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endParaRPr lang="de-CH" sz="5185" b="1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186C58A-B75E-8075-A6D1-BA7802150F11}"/>
              </a:ext>
            </a:extLst>
          </p:cNvPr>
          <p:cNvSpPr/>
          <p:nvPr/>
        </p:nvSpPr>
        <p:spPr>
          <a:xfrm rot="16200000">
            <a:off x="26816111" y="16800382"/>
            <a:ext cx="2834109" cy="757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CH" sz="432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nd-of-Lif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6306111-3AE7-2EBE-687F-84C3F519CB0B}"/>
              </a:ext>
            </a:extLst>
          </p:cNvPr>
          <p:cNvSpPr/>
          <p:nvPr/>
        </p:nvSpPr>
        <p:spPr bwMode="auto">
          <a:xfrm>
            <a:off x="12077815" y="17924549"/>
            <a:ext cx="2808000" cy="7264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2800" dirty="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raining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8E64540-9D4F-152E-9A2F-D3F2D22DCFE1}"/>
              </a:ext>
            </a:extLst>
          </p:cNvPr>
          <p:cNvSpPr/>
          <p:nvPr/>
        </p:nvSpPr>
        <p:spPr bwMode="auto">
          <a:xfrm>
            <a:off x="15225905" y="17932634"/>
            <a:ext cx="2808000" cy="7264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800" dirty="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rvice &amp; </a:t>
            </a:r>
            <a:r>
              <a:rPr lang="de-CH" sz="2800" dirty="0" err="1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intenance</a:t>
            </a:r>
            <a:endParaRPr lang="de-CH" sz="2800" dirty="0">
              <a:solidFill>
                <a:sysClr val="windowText" lastClr="00000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6D6FC0C-060B-B273-BDDB-B3475CE7481B}"/>
              </a:ext>
            </a:extLst>
          </p:cNvPr>
          <p:cNvSpPr/>
          <p:nvPr/>
        </p:nvSpPr>
        <p:spPr bwMode="auto">
          <a:xfrm>
            <a:off x="18373995" y="17928123"/>
            <a:ext cx="2808000" cy="7264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2800" dirty="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Update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FEDB062-427E-6416-6E81-24DB03C6E2D9}"/>
              </a:ext>
            </a:extLst>
          </p:cNvPr>
          <p:cNvSpPr/>
          <p:nvPr/>
        </p:nvSpPr>
        <p:spPr bwMode="auto">
          <a:xfrm>
            <a:off x="21522085" y="17932789"/>
            <a:ext cx="2808000" cy="72645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2800" dirty="0">
                <a:solidFill>
                  <a:sysClr val="windowText" lastClr="00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Upgrade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BDDEFCB-5345-70C3-CA63-64C57E0D880E}"/>
              </a:ext>
            </a:extLst>
          </p:cNvPr>
          <p:cNvSpPr/>
          <p:nvPr/>
        </p:nvSpPr>
        <p:spPr bwMode="auto">
          <a:xfrm>
            <a:off x="21509066" y="15743562"/>
            <a:ext cx="2808000" cy="726450"/>
          </a:xfrm>
          <a:prstGeom prst="rect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duct</a:t>
            </a:r>
            <a:r>
              <a:rPr lang="de-CH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2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lanning</a:t>
            </a:r>
            <a:endParaRPr lang="de-CH" sz="28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3C87551-46AA-7722-9927-FFDFD80DA21D}"/>
              </a:ext>
            </a:extLst>
          </p:cNvPr>
          <p:cNvSpPr/>
          <p:nvPr/>
        </p:nvSpPr>
        <p:spPr bwMode="auto">
          <a:xfrm>
            <a:off x="18359468" y="15743407"/>
            <a:ext cx="2808000" cy="726450"/>
          </a:xfrm>
          <a:prstGeom prst="rect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duct</a:t>
            </a:r>
            <a:r>
              <a:rPr lang="de-CH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2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evelopment</a:t>
            </a:r>
            <a:endParaRPr lang="de-CH" sz="28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F0DCE4B-A14B-2C26-073B-1EFFA9001046}"/>
              </a:ext>
            </a:extLst>
          </p:cNvPr>
          <p:cNvSpPr/>
          <p:nvPr/>
        </p:nvSpPr>
        <p:spPr bwMode="auto">
          <a:xfrm>
            <a:off x="15209870" y="15752511"/>
            <a:ext cx="2808000" cy="726450"/>
          </a:xfrm>
          <a:prstGeom prst="rect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rketing &amp; </a:t>
            </a:r>
            <a:r>
              <a:rPr lang="de-CH" sz="2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ales</a:t>
            </a:r>
            <a:endParaRPr lang="de-CH" sz="28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869587E-8C35-AB87-7C24-51FDACE39027}"/>
              </a:ext>
            </a:extLst>
          </p:cNvPr>
          <p:cNvSpPr/>
          <p:nvPr/>
        </p:nvSpPr>
        <p:spPr bwMode="auto">
          <a:xfrm>
            <a:off x="12060272" y="15750882"/>
            <a:ext cx="2808000" cy="726450"/>
          </a:xfrm>
          <a:prstGeom prst="rect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/>
            <a:r>
              <a:rPr lang="de-CH" sz="2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duction</a:t>
            </a:r>
            <a:endParaRPr lang="de-CH" sz="28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31CBA1E-A485-AF99-27DC-DB43C3C34847}"/>
              </a:ext>
            </a:extLst>
          </p:cNvPr>
          <p:cNvSpPr/>
          <p:nvPr/>
        </p:nvSpPr>
        <p:spPr bwMode="auto">
          <a:xfrm>
            <a:off x="12060272" y="16833239"/>
            <a:ext cx="2808000" cy="726450"/>
          </a:xfrm>
          <a:prstGeom prst="rect">
            <a:avLst/>
          </a:prstGeom>
          <a:gradFill flip="none" rotWithShape="1">
            <a:gsLst>
              <a:gs pos="21000">
                <a:srgbClr val="0064A6"/>
              </a:gs>
              <a:gs pos="100000">
                <a:schemeClr val="bg1">
                  <a:lumMod val="85000"/>
                </a:schemeClr>
              </a:gs>
            </a:gsLst>
            <a:lin ang="5400000" scaled="1"/>
            <a:tileRect/>
          </a:gra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istribution &amp; </a:t>
            </a:r>
            <a:r>
              <a:rPr lang="de-CH" sz="2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mmissioning</a:t>
            </a:r>
            <a:endParaRPr lang="de-CH" sz="28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104A866-0710-0905-B6F0-EB79C8F4A48C}"/>
              </a:ext>
            </a:extLst>
          </p:cNvPr>
          <p:cNvSpPr/>
          <p:nvPr/>
        </p:nvSpPr>
        <p:spPr bwMode="auto">
          <a:xfrm>
            <a:off x="24658665" y="15723915"/>
            <a:ext cx="2808000" cy="726450"/>
          </a:xfrm>
          <a:prstGeom prst="rect">
            <a:avLst/>
          </a:prstGeom>
          <a:solidFill>
            <a:srgbClr val="0064A6"/>
          </a:solidFill>
          <a:ln w="12700">
            <a:noFill/>
            <a:miter lim="800000"/>
            <a:headEnd/>
            <a:tailEnd/>
          </a:ln>
        </p:spPr>
        <p:txBody>
          <a:bodyPr wrap="square" lIns="155556" tIns="155556" rIns="155556" bIns="155556" rtlCol="0" anchor="ctr" anchorCtr="1"/>
          <a:lstStyle/>
          <a:p>
            <a:pPr algn="ctr">
              <a:lnSpc>
                <a:spcPts val="2500"/>
              </a:lnSpc>
            </a:pPr>
            <a:r>
              <a:rPr lang="de-CH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ustomer &amp;</a:t>
            </a:r>
          </a:p>
          <a:p>
            <a:pPr algn="ctr">
              <a:lnSpc>
                <a:spcPts val="2500"/>
              </a:lnSpc>
            </a:pPr>
            <a:r>
              <a:rPr lang="de-CH" sz="2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rket</a:t>
            </a:r>
            <a:r>
              <a:rPr lang="de-CH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2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nalysis</a:t>
            </a:r>
            <a:endParaRPr lang="de-CH" sz="28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2A7192F-8964-C234-7A08-CB66CC8E1C3D}"/>
              </a:ext>
            </a:extLst>
          </p:cNvPr>
          <p:cNvSpPr txBox="1"/>
          <p:nvPr/>
        </p:nvSpPr>
        <p:spPr>
          <a:xfrm>
            <a:off x="1037853" y="281788"/>
            <a:ext cx="3611504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8800" b="1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«</a:t>
            </a:r>
            <a:r>
              <a:rPr lang="de-CH" sz="8800" b="1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Application</a:t>
            </a:r>
            <a:r>
              <a:rPr lang="de-CH" sz="8800" b="1" dirty="0" err="1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-Oriented</a:t>
            </a:r>
            <a:r>
              <a:rPr lang="de-CH" sz="8800" b="1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Digital Twin Framework» </a:t>
            </a:r>
            <a:r>
              <a:rPr lang="de-CH" sz="88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(Barth et al., 2023)</a:t>
            </a:r>
            <a:endParaRPr lang="de-CH" sz="5400" dirty="0">
              <a:effectLst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1366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276325B-92F9-3AA2-D677-8D8DE3F9FD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en-GB" smtClean="0"/>
              <a:pPr algn="r"/>
              <a:t>3</a:t>
            </a:fld>
            <a:r>
              <a:rPr lang="en-GB"/>
              <a:t>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82FD09D-1B9A-4B64-4506-54EE29C1D4F1}"/>
              </a:ext>
            </a:extLst>
          </p:cNvPr>
          <p:cNvSpPr txBox="1"/>
          <p:nvPr/>
        </p:nvSpPr>
        <p:spPr>
          <a:xfrm>
            <a:off x="1642052" y="4890979"/>
            <a:ext cx="36115048" cy="2259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«</a:t>
            </a:r>
            <a:r>
              <a:rPr lang="de-CH" sz="8000" b="1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Value </a:t>
            </a:r>
            <a:r>
              <a:rPr lang="de-CH" sz="8000" b="1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reation</a:t>
            </a:r>
            <a:r>
              <a:rPr lang="de-CH" sz="8000" b="1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8000" b="1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with</a:t>
            </a:r>
            <a:r>
              <a:rPr lang="de-CH" sz="8000" b="1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Digital Twins</a:t>
            </a:r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de-CH" sz="8000" b="1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Application-Oriented</a:t>
            </a:r>
            <a:r>
              <a:rPr lang="de-CH" sz="8000" b="1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8000" b="1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onceptual</a:t>
            </a:r>
            <a:r>
              <a:rPr lang="de-CH" sz="8000" b="1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Framework and Case Study</a:t>
            </a:r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»</a:t>
            </a:r>
          </a:p>
          <a:p>
            <a:endParaRPr lang="de-CH" sz="8000" dirty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r>
              <a:rPr lang="de-CH" sz="80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published</a:t>
            </a:r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in Applied Sciences </a:t>
            </a:r>
            <a:r>
              <a:rPr lang="de-CH" sz="80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as</a:t>
            </a:r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80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part</a:t>
            </a:r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of </a:t>
            </a:r>
            <a:r>
              <a:rPr lang="de-CH" sz="80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the</a:t>
            </a:r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Special </a:t>
            </a:r>
            <a:r>
              <a:rPr lang="de-CH" sz="80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Issue</a:t>
            </a:r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«New </a:t>
            </a:r>
            <a:r>
              <a:rPr lang="de-CH" sz="80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Insights</a:t>
            </a:r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in </a:t>
            </a:r>
            <a:r>
              <a:rPr lang="de-CH" sz="80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Mechatronics</a:t>
            </a:r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and Systems Design </a:t>
            </a:r>
            <a:r>
              <a:rPr lang="de-CH" sz="80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for</a:t>
            </a:r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Industry 4.0»</a:t>
            </a:r>
          </a:p>
          <a:p>
            <a:endParaRPr lang="de-CH" sz="8000" dirty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r>
              <a:rPr lang="de-CH" sz="80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available</a:t>
            </a:r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online:</a:t>
            </a:r>
          </a:p>
          <a:p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Website: </a:t>
            </a:r>
            <a:r>
              <a:rPr lang="de-CH" sz="8000" u="sng" dirty="0">
                <a:solidFill>
                  <a:srgbClr val="0563C1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  <a:hlinkClick r:id="rId2"/>
              </a:rPr>
              <a:t>https://www.mdpi.com/2076-3417/13/6/3511</a:t>
            </a:r>
            <a:endParaRPr lang="de-CH" sz="8000" dirty="0">
              <a:effectLst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r>
              <a:rPr lang="de-CH" sz="8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PDF Version: </a:t>
            </a:r>
            <a:r>
              <a:rPr lang="de-CH" sz="8000" u="sng" dirty="0">
                <a:solidFill>
                  <a:srgbClr val="0563C1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  <a:hlinkClick r:id="rId3"/>
              </a:rPr>
              <a:t>https://www.mdpi.com/2076-3417/13/6/3511/pdf</a:t>
            </a:r>
            <a:endParaRPr lang="de-CH" sz="8000" u="sng" dirty="0">
              <a:solidFill>
                <a:srgbClr val="0563C1"/>
              </a:solidFill>
              <a:effectLst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endParaRPr lang="de-CH" sz="8000" u="sng" dirty="0">
              <a:solidFill>
                <a:srgbClr val="0563C1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endParaRPr lang="de-CH" sz="8000" u="sng" dirty="0">
              <a:solidFill>
                <a:srgbClr val="0563C1"/>
              </a:solidFill>
              <a:effectLst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r>
              <a:rPr lang="de-CH" sz="5400" b="0" i="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Barth, Linard, Lukas Schweiger, Gianluca Galeno, Nikolas Schaal, and Matthias Ehrat. 2023. "Value </a:t>
            </a:r>
            <a:r>
              <a:rPr lang="de-CH" sz="5400" b="0" i="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Creation</a:t>
            </a:r>
            <a:r>
              <a:rPr lang="de-CH" sz="5400" b="0" i="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5400" b="0" i="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with</a:t>
            </a:r>
            <a:r>
              <a:rPr lang="de-CH" sz="5400" b="0" i="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 Digital Twins: </a:t>
            </a:r>
            <a:r>
              <a:rPr lang="de-CH" sz="5400" b="0" i="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Application-Oriented</a:t>
            </a:r>
            <a:r>
              <a:rPr lang="de-CH" sz="5400" b="0" i="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5400" b="0" i="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Conceptual</a:t>
            </a:r>
            <a:r>
              <a:rPr lang="de-CH" sz="5400" b="0" i="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 Framework and Case Study" </a:t>
            </a:r>
            <a:r>
              <a:rPr lang="de-CH" sz="5400" b="0" i="1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Applied Sciences</a:t>
            </a:r>
            <a:r>
              <a:rPr lang="de-CH" sz="5400" b="0" i="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 13, </a:t>
            </a:r>
            <a:r>
              <a:rPr lang="de-CH" sz="5400" b="0" i="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no</a:t>
            </a:r>
            <a:r>
              <a:rPr lang="de-CH" sz="5400" b="0" i="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. 6: 3511. </a:t>
            </a:r>
            <a:r>
              <a:rPr lang="de-CH" sz="5400" b="0" i="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hlinkClick r:id="rId4"/>
              </a:rPr>
              <a:t>https://doi.org/10.3390/app13063511</a:t>
            </a:r>
            <a:endParaRPr lang="de-CH" sz="5400" b="0" i="0" dirty="0">
              <a:solidFill>
                <a:srgbClr val="222222"/>
              </a:solidFill>
              <a:effectLst/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de-CH" sz="5400" dirty="0">
              <a:solidFill>
                <a:srgbClr val="222222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endParaRPr lang="de-CH" sz="5400" dirty="0">
              <a:solidFill>
                <a:srgbClr val="222222"/>
              </a:solidFill>
              <a:effectLst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endParaRPr lang="de-CH" sz="5400" dirty="0">
              <a:solidFill>
                <a:srgbClr val="222222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endParaRPr lang="de-CH" sz="5400" dirty="0">
              <a:solidFill>
                <a:srgbClr val="222222"/>
              </a:solidFill>
              <a:effectLst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If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you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have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questions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about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using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the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framework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or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want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to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discuss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ases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/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hallenges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please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de-CH" sz="5400" dirty="0" err="1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ontact</a:t>
            </a:r>
            <a:r>
              <a:rPr lang="de-CH" sz="5400" dirty="0">
                <a:solidFill>
                  <a:srgbClr val="222222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de-CH" sz="5400" dirty="0">
                <a:solidFill>
                  <a:srgbClr val="222222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  <a:hlinkClick r:id="rId5"/>
              </a:rPr>
              <a:t>Linard.Barth@zhaw.ch</a:t>
            </a:r>
            <a:endParaRPr lang="de-CH" sz="5400" dirty="0">
              <a:solidFill>
                <a:srgbClr val="222222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r>
              <a:rPr lang="de-CH" sz="5400" dirty="0">
                <a:solidFill>
                  <a:srgbClr val="222222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linard-barth-9b8354173/</a:t>
            </a:r>
            <a:endParaRPr lang="de-CH" sz="5400" dirty="0">
              <a:solidFill>
                <a:srgbClr val="222222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endParaRPr lang="de-CH" sz="4800" dirty="0">
              <a:effectLst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948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 SML_englisch_AACSB">
  <a:themeElements>
    <a:clrScheme name="ZHAW_PPT_neu">
      <a:dk1>
        <a:srgbClr val="002C59"/>
      </a:dk1>
      <a:lt1>
        <a:srgbClr val="FFFFFF"/>
      </a:lt1>
      <a:dk2>
        <a:srgbClr val="EA5B0C"/>
      </a:dk2>
      <a:lt2>
        <a:srgbClr val="F2E61A"/>
      </a:lt2>
      <a:accent1>
        <a:srgbClr val="0064A6"/>
      </a:accent1>
      <a:accent2>
        <a:srgbClr val="012C59"/>
      </a:accent2>
      <a:accent3>
        <a:srgbClr val="6799CA"/>
      </a:accent3>
      <a:accent4>
        <a:srgbClr val="9DB9DD"/>
      </a:accent4>
      <a:accent5>
        <a:srgbClr val="646464"/>
      </a:accent5>
      <a:accent6>
        <a:srgbClr val="969696"/>
      </a:accent6>
      <a:hlink>
        <a:srgbClr val="000000"/>
      </a:hlink>
      <a:folHlink>
        <a:srgbClr val="6FBAED"/>
      </a:folHlink>
    </a:clrScheme>
    <a:fontScheme name="zhaw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>
          <a:solidFill>
            <a:schemeClr val="bg1"/>
          </a:solidFill>
          <a:miter lim="800000"/>
          <a:headEnd/>
          <a:tailEnd/>
        </a:ln>
      </a:spPr>
      <a:bodyPr wrap="square" lIns="36000" tIns="36000" rIns="36000" bIns="36000" anchor="ctr" anchorCtr="1"/>
      <a:lstStyle>
        <a:defPPr algn="l">
          <a:defRPr b="1" dirty="0" smtClean="0">
            <a:solidFill>
              <a:schemeClr val="bg1"/>
            </a:solidFill>
            <a:ea typeface="ＭＳ Ｐゴシック" pitchFamily="50" charset="-128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PowerPoint_Vorlage_SML_A4_DE.pptx" id="{D465828F-5666-4CE0-A877-4C83E7C21E36}" vid="{3333F1D9-1EC1-4C5F-8728-FCD8988C3959}"/>
    </a:ext>
  </a:extLst>
</a:theme>
</file>

<file path=ppt/theme/theme2.xml><?xml version="1.0" encoding="utf-8"?>
<a:theme xmlns:a="http://schemas.openxmlformats.org/drawingml/2006/main" name="1_PP SML_englisch_AACSB">
  <a:themeElements>
    <a:clrScheme name="ZHAW_PPT_neu">
      <a:dk1>
        <a:srgbClr val="002C59"/>
      </a:dk1>
      <a:lt1>
        <a:srgbClr val="FFFFFF"/>
      </a:lt1>
      <a:dk2>
        <a:srgbClr val="EA5B0C"/>
      </a:dk2>
      <a:lt2>
        <a:srgbClr val="F2E61A"/>
      </a:lt2>
      <a:accent1>
        <a:srgbClr val="0064A6"/>
      </a:accent1>
      <a:accent2>
        <a:srgbClr val="012C59"/>
      </a:accent2>
      <a:accent3>
        <a:srgbClr val="6799CA"/>
      </a:accent3>
      <a:accent4>
        <a:srgbClr val="9DB9DD"/>
      </a:accent4>
      <a:accent5>
        <a:srgbClr val="646464"/>
      </a:accent5>
      <a:accent6>
        <a:srgbClr val="969696"/>
      </a:accent6>
      <a:hlink>
        <a:srgbClr val="000000"/>
      </a:hlink>
      <a:folHlink>
        <a:srgbClr val="6FBAED"/>
      </a:folHlink>
    </a:clrScheme>
    <a:fontScheme name="zhaw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9F499"/>
        </a:solidFill>
        <a:ln w="12700" cap="flat" cmpd="sng" algn="ctr">
          <a:noFill/>
          <a:prstDash val="solid"/>
          <a:miter lim="800000"/>
        </a:ln>
        <a:effectLst/>
      </a:spPr>
      <a:bodyPr rtlCol="0" anchor="ctr"/>
      <a:lstStyle>
        <a:defPPr algn="ctr" defTabSz="491189">
          <a:defRPr sz="1934" kern="0" dirty="0">
            <a:solidFill>
              <a:prstClr val="white"/>
            </a:solidFill>
            <a:latin typeface="Cambria" panose="02040503050406030204" pitchFamily="18" charset="0"/>
            <a:ea typeface="Cambria" panose="02040503050406030204" pitchFamily="18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PowerPoint_Vorlage_SML_A4_DE.pptx" id="{D465828F-5666-4CE0-A877-4C83E7C21E36}" vid="{3333F1D9-1EC1-4C5F-8728-FCD8988C3959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F645C3A752160499BF551A1FFF7F7BD" ma:contentTypeVersion="11" ma:contentTypeDescription="Ein neues Dokument erstellen." ma:contentTypeScope="" ma:versionID="7097fcc58815459a8f40662f0ee8c533">
  <xsd:schema xmlns:xsd="http://www.w3.org/2001/XMLSchema" xmlns:xs="http://www.w3.org/2001/XMLSchema" xmlns:p="http://schemas.microsoft.com/office/2006/metadata/properties" xmlns:ns2="9916422e-4fcf-474b-a103-8ee3b0d0a015" xmlns:ns3="68628b2f-7e15-4bb9-b45d-9b408bd3f434" targetNamespace="http://schemas.microsoft.com/office/2006/metadata/properties" ma:root="true" ma:fieldsID="1d528797fdb08d2e668508af1cab0f64" ns2:_="" ns3:_="">
    <xsd:import namespace="9916422e-4fcf-474b-a103-8ee3b0d0a015"/>
    <xsd:import namespace="68628b2f-7e15-4bb9-b45d-9b408bd3f4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16422e-4fcf-474b-a103-8ee3b0d0a0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19e3ed14-352d-4aa2-a63b-0b06d7ab5fe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628b2f-7e15-4bb9-b45d-9b408bd3f434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07e68710-7cc7-46c8-bde5-83458fb1ae3e}" ma:internalName="TaxCatchAll" ma:showField="CatchAllData" ma:web="fde94867-5aa4-4c6e-9d5a-8905c189a4b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8628b2f-7e15-4bb9-b45d-9b408bd3f434" xsi:nil="true"/>
    <lcf76f155ced4ddcb4097134ff3c332f xmlns="9916422e-4fcf-474b-a103-8ee3b0d0a015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2B00C2C-0DAC-4618-A91D-3D3020E446D1}">
  <ds:schemaRefs>
    <ds:schemaRef ds:uri="68628b2f-7e15-4bb9-b45d-9b408bd3f434"/>
    <ds:schemaRef ds:uri="9916422e-4fcf-474b-a103-8ee3b0d0a01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9F226B1-0F82-48C0-8641-CF124B24E617}">
  <ds:schemaRefs>
    <ds:schemaRef ds:uri="http://purl.org/dc/dcmitype/"/>
    <ds:schemaRef ds:uri="9916422e-4fcf-474b-a103-8ee3b0d0a015"/>
    <ds:schemaRef ds:uri="http://www.w3.org/XML/1998/namespace"/>
    <ds:schemaRef ds:uri="http://purl.org/dc/elements/1.1/"/>
    <ds:schemaRef ds:uri="http://schemas.microsoft.com/office/2006/documentManagement/types"/>
    <ds:schemaRef ds:uri="68628b2f-7e15-4bb9-b45d-9b408bd3f434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442A8A6F-5030-4FE3-906D-BCF2A8FC8A9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12</Words>
  <Application>Microsoft Office PowerPoint</Application>
  <PresentationFormat>Benutzerdefiniert</PresentationFormat>
  <Paragraphs>203</Paragraphs>
  <Slides>3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1" baseType="lpstr">
      <vt:lpstr>Arial</vt:lpstr>
      <vt:lpstr>Calibri</vt:lpstr>
      <vt:lpstr>Cambria</vt:lpstr>
      <vt:lpstr>Symbol</vt:lpstr>
      <vt:lpstr>Wingdings</vt:lpstr>
      <vt:lpstr>PP SML_englisch_AACSB</vt:lpstr>
      <vt:lpstr>1_PP SML_englisch_AACSB</vt:lpstr>
      <vt:lpstr>think-cell Folie</vt:lpstr>
      <vt:lpstr>PowerPoint-Präsentation</vt:lpstr>
      <vt:lpstr>PowerPoint-Präsentation</vt:lpstr>
      <vt:lpstr>PowerPoint-Präsentation</vt:lpstr>
    </vt:vector>
  </TitlesOfParts>
  <Company>ZHA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rger Verena (berv)</dc:creator>
  <cp:lastModifiedBy>Barth Linard (bath)</cp:lastModifiedBy>
  <cp:revision>2</cp:revision>
  <cp:lastPrinted>2017-09-18T16:43:25Z</cp:lastPrinted>
  <dcterms:created xsi:type="dcterms:W3CDTF">2013-02-19T08:10:06Z</dcterms:created>
  <dcterms:modified xsi:type="dcterms:W3CDTF">2023-03-09T13:4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645C3A752160499BF551A1FFF7F7BD</vt:lpwstr>
  </property>
  <property fmtid="{D5CDD505-2E9C-101B-9397-08002B2CF9AE}" pid="3" name="MediaServiceImageTags">
    <vt:lpwstr/>
  </property>
  <property fmtid="{D5CDD505-2E9C-101B-9397-08002B2CF9AE}" pid="4" name="MSIP_Label_10d9bad3-6dac-4e9a-89a3-89f3b8d247b2_Enabled">
    <vt:lpwstr>true</vt:lpwstr>
  </property>
  <property fmtid="{D5CDD505-2E9C-101B-9397-08002B2CF9AE}" pid="5" name="MSIP_Label_10d9bad3-6dac-4e9a-89a3-89f3b8d247b2_SetDate">
    <vt:lpwstr>2022-10-26T10:01:16Z</vt:lpwstr>
  </property>
  <property fmtid="{D5CDD505-2E9C-101B-9397-08002B2CF9AE}" pid="6" name="MSIP_Label_10d9bad3-6dac-4e9a-89a3-89f3b8d247b2_Method">
    <vt:lpwstr>Standard</vt:lpwstr>
  </property>
  <property fmtid="{D5CDD505-2E9C-101B-9397-08002B2CF9AE}" pid="7" name="MSIP_Label_10d9bad3-6dac-4e9a-89a3-89f3b8d247b2_Name">
    <vt:lpwstr>10d9bad3-6dac-4e9a-89a3-89f3b8d247b2</vt:lpwstr>
  </property>
  <property fmtid="{D5CDD505-2E9C-101B-9397-08002B2CF9AE}" pid="8" name="MSIP_Label_10d9bad3-6dac-4e9a-89a3-89f3b8d247b2_SiteId">
    <vt:lpwstr>5d1a9f9d-201f-4a10-b983-451cf65cbc1e</vt:lpwstr>
  </property>
  <property fmtid="{D5CDD505-2E9C-101B-9397-08002B2CF9AE}" pid="9" name="MSIP_Label_10d9bad3-6dac-4e9a-89a3-89f3b8d247b2_ActionId">
    <vt:lpwstr>ec674c3b-252c-49ee-89b8-6122052d1c39</vt:lpwstr>
  </property>
  <property fmtid="{D5CDD505-2E9C-101B-9397-08002B2CF9AE}" pid="10" name="MSIP_Label_10d9bad3-6dac-4e9a-89a3-89f3b8d247b2_ContentBits">
    <vt:lpwstr>0</vt:lpwstr>
  </property>
</Properties>
</file>